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charts/chart5.xml" ContentType="application/vnd.openxmlformats-officedocument.drawingml.chart+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charts/chart9.xml" ContentType="application/vnd.openxmlformats-officedocument.drawingml.chart+xml"/>
  <Override PartName="/ppt/tags/tag37.xml" ContentType="application/vnd.openxmlformats-officedocument.presentationml.tags+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tags/tag40.xml" ContentType="application/vnd.openxmlformats-officedocument.presentationml.tags+xml"/>
  <Override PartName="/ppt/charts/chart13.xml" ContentType="application/vnd.openxmlformats-officedocument.drawingml.chart+xml"/>
  <Override PartName="/ppt/tags/tag41.xml" ContentType="application/vnd.openxmlformats-officedocument.presentationml.tags+xml"/>
  <Override PartName="/ppt/charts/chart14.xml" ContentType="application/vnd.openxmlformats-officedocument.drawingml.chart+xml"/>
  <Override PartName="/ppt/tags/tag42.xml" ContentType="application/vnd.openxmlformats-officedocument.presentationml.tags+xml"/>
  <Override PartName="/ppt/charts/chart15.xml" ContentType="application/vnd.openxmlformats-officedocument.drawingml.chart+xml"/>
  <Override PartName="/ppt/tags/tag43.xml" ContentType="application/vnd.openxmlformats-officedocument.presentationml.tags+xml"/>
  <Override PartName="/ppt/charts/chart16.xml" ContentType="application/vnd.openxmlformats-officedocument.drawingml.chart+xml"/>
  <Override PartName="/ppt/tags/tag44.xml" ContentType="application/vnd.openxmlformats-officedocument.presentationml.tags+xml"/>
  <Override PartName="/ppt/charts/chart17.xml" ContentType="application/vnd.openxmlformats-officedocument.drawingml.chart+xml"/>
  <Override PartName="/ppt/tags/tag45.xml" ContentType="application/vnd.openxmlformats-officedocument.presentationml.tags+xml"/>
  <Override PartName="/ppt/charts/chart18.xml" ContentType="application/vnd.openxmlformats-officedocument.drawingml.chart+xml"/>
  <Override PartName="/ppt/tags/tag46.xml" ContentType="application/vnd.openxmlformats-officedocument.presentationml.tags+xml"/>
  <Override PartName="/ppt/notesSlides/notesSlide1.xml" ContentType="application/vnd.openxmlformats-officedocument.presentationml.notesSlide+xml"/>
  <Override PartName="/ppt/tags/tag47.xml" ContentType="application/vnd.openxmlformats-officedocument.presentationml.tags+xml"/>
  <Override PartName="/ppt/notesSlides/notesSlide2.xml" ContentType="application/vnd.openxmlformats-officedocument.presentationml.notesSlide+xml"/>
  <Override PartName="/ppt/tags/tag48.xml" ContentType="application/vnd.openxmlformats-officedocument.presentationml.tags+xml"/>
  <Override PartName="/ppt/notesSlides/notesSlide3.xml" ContentType="application/vnd.openxmlformats-officedocument.presentationml.notesSlide+xml"/>
  <Override PartName="/ppt/tags/tag49.xml" ContentType="application/vnd.openxmlformats-officedocument.presentationml.tags+xml"/>
  <Override PartName="/ppt/notesSlides/notesSlide4.xml" ContentType="application/vnd.openxmlformats-officedocument.presentationml.notesSlide+xml"/>
  <Override PartName="/ppt/tags/tag50.xml" ContentType="application/vnd.openxmlformats-officedocument.presentationml.tags+xml"/>
  <Override PartName="/ppt/notesSlides/notesSlide5.xml" ContentType="application/vnd.openxmlformats-officedocument.presentationml.notesSlide+xml"/>
  <Override PartName="/ppt/tags/tag51.xml" ContentType="application/vnd.openxmlformats-officedocument.presentationml.tags+xml"/>
  <Override PartName="/ppt/notesSlides/notesSlide6.xml" ContentType="application/vnd.openxmlformats-officedocument.presentationml.notesSlide+xml"/>
  <Override PartName="/ppt/tags/tag52.xml" ContentType="application/vnd.openxmlformats-officedocument.presentationml.tags+xml"/>
  <Override PartName="/ppt/charts/chart19.xml" ContentType="application/vnd.openxmlformats-officedocument.drawingml.chart+xml"/>
  <Override PartName="/ppt/tags/tag53.xml" ContentType="application/vnd.openxmlformats-officedocument.presentationml.tags+xml"/>
  <Override PartName="/ppt/charts/chart20.xml" ContentType="application/vnd.openxmlformats-officedocument.drawingml.chart+xml"/>
  <Override PartName="/ppt/tags/tag54.xml" ContentType="application/vnd.openxmlformats-officedocument.presentationml.tags+xml"/>
  <Override PartName="/ppt/charts/chart21.xml" ContentType="application/vnd.openxmlformats-officedocument.drawingml.chart+xml"/>
  <Override PartName="/ppt/tags/tag55.xml" ContentType="application/vnd.openxmlformats-officedocument.presentationml.tags+xml"/>
  <Override PartName="/ppt/charts/chart22.xml" ContentType="application/vnd.openxmlformats-officedocument.drawingml.chart+xml"/>
  <Override PartName="/ppt/tags/tag56.xml" ContentType="application/vnd.openxmlformats-officedocument.presentationml.tags+xml"/>
  <Override PartName="/ppt/charts/chart23.xml" ContentType="application/vnd.openxmlformats-officedocument.drawingml.chart+xml"/>
  <Override PartName="/ppt/tags/tag57.xml" ContentType="application/vnd.openxmlformats-officedocument.presentationml.tags+xml"/>
  <Override PartName="/ppt/charts/chart24.xml" ContentType="application/vnd.openxmlformats-officedocument.drawingml.chart+xml"/>
  <Override PartName="/ppt/tags/tag58.xml" ContentType="application/vnd.openxmlformats-officedocument.presentationml.tags+xml"/>
  <Override PartName="/ppt/charts/chart25.xml" ContentType="application/vnd.openxmlformats-officedocument.drawingml.chart+xml"/>
  <Override PartName="/ppt/tags/tag59.xml" ContentType="application/vnd.openxmlformats-officedocument.presentationml.tags+xml"/>
  <Override PartName="/ppt/charts/chart26.xml" ContentType="application/vnd.openxmlformats-officedocument.drawingml.chart+xml"/>
  <Override PartName="/ppt/tags/tag60.xml" ContentType="application/vnd.openxmlformats-officedocument.presentationml.tags+xml"/>
  <Override PartName="/ppt/charts/chart27.xml" ContentType="application/vnd.openxmlformats-officedocument.drawingml.chart+xml"/>
  <Override PartName="/ppt/tags/tag61.xml" ContentType="application/vnd.openxmlformats-officedocument.presentationml.tags+xml"/>
  <Override PartName="/ppt/charts/chart28.xml" ContentType="application/vnd.openxmlformats-officedocument.drawingml.chart+xml"/>
  <Override PartName="/ppt/tags/tag62.xml" ContentType="application/vnd.openxmlformats-officedocument.presentationml.tags+xml"/>
  <Override PartName="/ppt/charts/chart29.xml" ContentType="application/vnd.openxmlformats-officedocument.drawingml.chart+xml"/>
  <Override PartName="/ppt/tags/tag63.xml" ContentType="application/vnd.openxmlformats-officedocument.presentationml.tags+xml"/>
  <Override PartName="/ppt/charts/chart30.xml" ContentType="application/vnd.openxmlformats-officedocument.drawingml.chart+xml"/>
  <Override PartName="/ppt/tags/tag64.xml" ContentType="application/vnd.openxmlformats-officedocument.presentationml.tags+xml"/>
  <Override PartName="/ppt/charts/chart31.xml" ContentType="application/vnd.openxmlformats-officedocument.drawingml.chart+xml"/>
  <Override PartName="/ppt/tags/tag65.xml" ContentType="application/vnd.openxmlformats-officedocument.presentationml.tags+xml"/>
  <Override PartName="/ppt/charts/chart32.xml" ContentType="application/vnd.openxmlformats-officedocument.drawingml.chart+xml"/>
  <Override PartName="/ppt/tags/tag66.xml" ContentType="application/vnd.openxmlformats-officedocument.presentationml.tags+xml"/>
  <Override PartName="/ppt/charts/chart33.xml" ContentType="application/vnd.openxmlformats-officedocument.drawingml.chart+xml"/>
  <Override PartName="/ppt/tags/tag67.xml" ContentType="application/vnd.openxmlformats-officedocument.presentationml.tags+xml"/>
  <Override PartName="/ppt/charts/chart34.xml" ContentType="application/vnd.openxmlformats-officedocument.drawingml.chart+xml"/>
  <Override PartName="/ppt/tags/tag68.xml" ContentType="application/vnd.openxmlformats-officedocument.presentationml.tags+xml"/>
  <Override PartName="/ppt/charts/chart35.xml" ContentType="application/vnd.openxmlformats-officedocument.drawingml.chart+xml"/>
  <Override PartName="/ppt/tags/tag69.xml" ContentType="application/vnd.openxmlformats-officedocument.presentationml.tags+xml"/>
  <Override PartName="/ppt/charts/chart36.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47"/>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Analysis" id="{70430656-789C-44E2-AD61-17DDD3016285}">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Lst>
        </p14:section>
        <p14:section name="Sectors Share and Growth By Brands" id="{2E3FACCC-E1A0-4039-9391-99EA7D7809A7}">
          <p14:sldIdLst>
            <p14:sldId id="2147477383"/>
            <p14:sldId id="2147477384"/>
            <p14:sldId id="2147477385"/>
          </p14:sldIdLst>
        </p14:section>
        <p14:section name="Segments Share and Growth By Brands" id="{D111F078-29FF-48A4-9016-C64BD74B37C5}">
          <p14:sldIdLst>
            <p14:sldId id="2147477386"/>
            <p14:sldId id="2147477387"/>
            <p14:sldId id="2147477388"/>
          </p14:sldIdLst>
        </p14:section>
        <p14:section name="Price Point Distribution Analysis By Brand" id="{36BE26E1-2959-4CE6-AC9C-83EB0A3E4CBA}">
          <p14:sldIdLst>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72" y="27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4168975-68F8-443C-86E9-E2B8F81802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A8E9708-D7A1-4739-9E1C-4B7491F9CB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BA7FDE3-BEAF-43DF-B27F-A11FEA7599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60DCFD5-8677-4925-82DE-30BAD59335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2715485-E56A-4438-B96D-770D041D8D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EDCE9EE-D0B9-48AD-84AF-47AFBCCA43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7AE4250-3031-4FEE-925A-671E430083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4EA9EDE-BB40-4BC5-B706-3C514B596E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0367999999999999</c:v>
                </c:pt>
                <c:pt idx="1">
                  <c:v>2.2883</c:v>
                </c:pt>
                <c:pt idx="2">
                  <c:v>2.3494999999999999</c:v>
                </c:pt>
                <c:pt idx="3">
                  <c:v>2.8965999999999998</c:v>
                </c:pt>
                <c:pt idx="4">
                  <c:v>2.7610999999999999</c:v>
                </c:pt>
                <c:pt idx="5">
                  <c:v>3.2795000000000001</c:v>
                </c:pt>
                <c:pt idx="6">
                  <c:v>2.4449999999999998</c:v>
                </c:pt>
                <c:pt idx="7">
                  <c:v>2.4899</c:v>
                </c:pt>
                <c:pt idx="8">
                  <c:v>3.5445000000000002</c:v>
                </c:pt>
              </c:numCache>
            </c:numRef>
          </c:xVal>
          <c:yVal>
            <c:numRef>
              <c:f>Sheet1!$B$2:$B$10</c:f>
              <c:numCache>
                <c:formatCode>General</c:formatCode>
                <c:ptCount val="9"/>
                <c:pt idx="0">
                  <c:v>0.84499999999999997</c:v>
                </c:pt>
                <c:pt idx="1">
                  <c:v>0.78500000000000003</c:v>
                </c:pt>
                <c:pt idx="2">
                  <c:v>1.1180000000000001</c:v>
                </c:pt>
                <c:pt idx="3">
                  <c:v>1.1040000000000001</c:v>
                </c:pt>
                <c:pt idx="4">
                  <c:v>1.04</c:v>
                </c:pt>
                <c:pt idx="5">
                  <c:v>1.1399999999999999</c:v>
                </c:pt>
                <c:pt idx="6">
                  <c:v>1.2729999999999999</c:v>
                </c:pt>
                <c:pt idx="7">
                  <c:v>0.70599999999999996</c:v>
                </c:pt>
                <c:pt idx="8">
                  <c:v>1.462</c:v>
                </c:pt>
              </c:numCache>
            </c:numRef>
          </c:yVal>
          <c:bubbleSize>
            <c:numRef>
              <c:f>Sheet1!$C$2:$C$10</c:f>
              <c:numCache>
                <c:formatCode>General</c:formatCode>
                <c:ptCount val="9"/>
                <c:pt idx="0">
                  <c:v>523033042</c:v>
                </c:pt>
                <c:pt idx="1">
                  <c:v>58759599</c:v>
                </c:pt>
                <c:pt idx="2">
                  <c:v>58401688</c:v>
                </c:pt>
                <c:pt idx="3">
                  <c:v>54596188</c:v>
                </c:pt>
                <c:pt idx="4">
                  <c:v>48716929</c:v>
                </c:pt>
                <c:pt idx="5">
                  <c:v>47071227</c:v>
                </c:pt>
                <c:pt idx="6">
                  <c:v>40044170</c:v>
                </c:pt>
                <c:pt idx="7">
                  <c:v>38256036</c:v>
                </c:pt>
                <c:pt idx="8">
                  <c:v>36162450</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Galbani</c:v>
                  </c:pt>
                  <c:pt idx="3">
                    <c:v>St Moret</c:v>
                  </c:pt>
                  <c:pt idx="4">
                    <c:v>Soignon</c:v>
                  </c:pt>
                  <c:pt idx="5">
                    <c:v>Caprice Des Dieux</c:v>
                  </c:pt>
                  <c:pt idx="6">
                    <c:v>Casa Azzurra</c:v>
                  </c:pt>
                  <c:pt idx="7">
                    <c:v>Coeur De Lion</c:v>
                  </c:pt>
                  <c:pt idx="8">
                    <c:v>Mini Baby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6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96B4E34-2A18-495A-99D2-D913432115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A1DAD78-BC15-48B7-BF9B-DE104059A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113D485-7166-4353-B180-877CB9207F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62248D2-4C2A-4040-8D2D-B3939DF3DF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B2210DC-FC5A-4F82-B32E-AC5F1C536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8B0E9F1-3B98-43B1-A9FB-F5788B0901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E4E6FEE-B3D7-45F4-84AE-3B93B78B9A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4A595D5-26A3-4F29-B778-F6EB9709F9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5445000000000002</c:v>
                </c:pt>
                <c:pt idx="1">
                  <c:v>3.2810999999999999</c:v>
                </c:pt>
                <c:pt idx="2">
                  <c:v>2.9834999999999998</c:v>
                </c:pt>
                <c:pt idx="3">
                  <c:v>2.2189999999999999</c:v>
                </c:pt>
                <c:pt idx="4">
                  <c:v>2.7052999999999998</c:v>
                </c:pt>
                <c:pt idx="5">
                  <c:v>3.2698999999999998</c:v>
                </c:pt>
              </c:numCache>
            </c:numRef>
          </c:xVal>
          <c:yVal>
            <c:numRef>
              <c:f>Sheet1!$B$2:$B$7</c:f>
              <c:numCache>
                <c:formatCode>General</c:formatCode>
                <c:ptCount val="6"/>
                <c:pt idx="0">
                  <c:v>1.419</c:v>
                </c:pt>
                <c:pt idx="1">
                  <c:v>0.873</c:v>
                </c:pt>
                <c:pt idx="2">
                  <c:v>1.0669999999999999</c:v>
                </c:pt>
                <c:pt idx="3">
                  <c:v>0.624</c:v>
                </c:pt>
                <c:pt idx="4">
                  <c:v>1.8620000000000001</c:v>
                </c:pt>
                <c:pt idx="5">
                  <c:v>1.425</c:v>
                </c:pt>
              </c:numCache>
            </c:numRef>
          </c:yVal>
          <c:bubbleSize>
            <c:numRef>
              <c:f>Sheet1!$C$2:$C$7</c:f>
              <c:numCache>
                <c:formatCode>General</c:formatCode>
                <c:ptCount val="6"/>
                <c:pt idx="0">
                  <c:v>36162450</c:v>
                </c:pt>
                <c:pt idx="1">
                  <c:v>35786112</c:v>
                </c:pt>
                <c:pt idx="2">
                  <c:v>28035107</c:v>
                </c:pt>
                <c:pt idx="3">
                  <c:v>22083602</c:v>
                </c:pt>
                <c:pt idx="4">
                  <c:v>11823541</c:v>
                </c:pt>
                <c:pt idx="5">
                  <c:v>2634301</c:v>
                </c:pt>
              </c:numCache>
            </c:numRef>
          </c:bubbleSize>
          <c:bubble3D val="0"/>
          <c:extLst>
            <c:ext xmlns:c15="http://schemas.microsoft.com/office/drawing/2012/chart" uri="{02D57815-91ED-43cb-92C2-25804820EDAC}">
              <c15:datalabelsRange>
                <c15:f>Sheet1!$E$2:$E$10</c15:f>
                <c15:dlblRangeCache>
                  <c:ptCount val="9"/>
                  <c:pt idx="0">
                    <c:v>Mini Babybel</c:v>
                  </c:pt>
                  <c:pt idx="1">
                    <c:v>La Vache Qui Rit</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62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DB045DA-4E0B-4A6C-BE32-D27356DDD2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F78730F-D906-4A03-8E25-96C4EDC180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0D72631-CAFE-462D-B68E-0F5C067394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8655169-7755-4452-ABF2-F861478EFB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5752B44-BF99-4A5D-A8DE-E13AAF5C3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EDF9CD2-BCBA-49F7-9228-D290A1B22C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C74C25B-C3E2-467F-95FC-431CF54B4A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55C14CB-9BBC-4633-BD7B-F6AADC5F3D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2258</c:v>
                </c:pt>
                <c:pt idx="1">
                  <c:v>3.7176999999999998</c:v>
                </c:pt>
                <c:pt idx="2">
                  <c:v>2.9481000000000002</c:v>
                </c:pt>
                <c:pt idx="3">
                  <c:v>2.2936000000000001</c:v>
                </c:pt>
                <c:pt idx="4">
                  <c:v>2.7347999999999999</c:v>
                </c:pt>
                <c:pt idx="5">
                  <c:v>3.0028000000000001</c:v>
                </c:pt>
              </c:numCache>
            </c:numRef>
          </c:xVal>
          <c:yVal>
            <c:numRef>
              <c:f>Sheet1!$B$2:$B$7</c:f>
              <c:numCache>
                <c:formatCode>General</c:formatCode>
                <c:ptCount val="6"/>
                <c:pt idx="0">
                  <c:v>0.81299999999999994</c:v>
                </c:pt>
                <c:pt idx="1">
                  <c:v>1.339</c:v>
                </c:pt>
                <c:pt idx="2">
                  <c:v>0.98</c:v>
                </c:pt>
                <c:pt idx="3">
                  <c:v>0.67</c:v>
                </c:pt>
                <c:pt idx="4">
                  <c:v>1.853</c:v>
                </c:pt>
                <c:pt idx="5">
                  <c:v>1.5209999999999999</c:v>
                </c:pt>
              </c:numCache>
            </c:numRef>
          </c:yVal>
          <c:bubbleSize>
            <c:numRef>
              <c:f>Sheet1!$C$2:$C$7</c:f>
              <c:numCache>
                <c:formatCode>General</c:formatCode>
                <c:ptCount val="6"/>
                <c:pt idx="0">
                  <c:v>6741110</c:v>
                </c:pt>
                <c:pt idx="1">
                  <c:v>6669457</c:v>
                </c:pt>
                <c:pt idx="2">
                  <c:v>5524817</c:v>
                </c:pt>
                <c:pt idx="3">
                  <c:v>2504979</c:v>
                </c:pt>
                <c:pt idx="4">
                  <c:v>2314948</c:v>
                </c:pt>
                <c:pt idx="5">
                  <c:v>426610</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5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B4DEABD-C86E-46BF-9C2D-CE51432808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626037E-D982-4024-9B2D-F7A22C7FAC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4B70A94-9B89-4C86-A16D-2558FE45D2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3A71103-CB8E-4DB8-A818-041F265994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8068F4E-B269-4AE0-AD99-7AF75D680F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4A7C68E-65D7-4825-B3A7-1677BA0CE9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24EBAC3-BE94-4043-9B2F-895E7B0049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C472A59-0992-440A-8EE1-DC846E73D7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4443000000000001</c:v>
                </c:pt>
                <c:pt idx="1">
                  <c:v>3.3622999999999998</c:v>
                </c:pt>
                <c:pt idx="2">
                  <c:v>3.0697000000000001</c:v>
                </c:pt>
                <c:pt idx="3">
                  <c:v>2.0539000000000001</c:v>
                </c:pt>
                <c:pt idx="4">
                  <c:v>2.6819999999999999</c:v>
                </c:pt>
                <c:pt idx="5">
                  <c:v>3.7010999999999998</c:v>
                </c:pt>
              </c:numCache>
            </c:numRef>
          </c:xVal>
          <c:yVal>
            <c:numRef>
              <c:f>Sheet1!$B$2:$B$7</c:f>
              <c:numCache>
                <c:formatCode>General</c:formatCode>
                <c:ptCount val="6"/>
                <c:pt idx="0">
                  <c:v>0.88</c:v>
                </c:pt>
                <c:pt idx="1">
                  <c:v>1.3660000000000001</c:v>
                </c:pt>
                <c:pt idx="2">
                  <c:v>1.0269999999999999</c:v>
                </c:pt>
                <c:pt idx="3">
                  <c:v>0.629</c:v>
                </c:pt>
                <c:pt idx="4">
                  <c:v>1.804</c:v>
                </c:pt>
                <c:pt idx="5">
                  <c:v>1.266</c:v>
                </c:pt>
              </c:numCache>
            </c:numRef>
          </c:yVal>
          <c:bubbleSize>
            <c:numRef>
              <c:f>Sheet1!$C$2:$C$7</c:f>
              <c:numCache>
                <c:formatCode>General</c:formatCode>
                <c:ptCount val="6"/>
                <c:pt idx="0">
                  <c:v>5658598</c:v>
                </c:pt>
                <c:pt idx="1">
                  <c:v>4713246</c:v>
                </c:pt>
                <c:pt idx="2">
                  <c:v>4572915</c:v>
                </c:pt>
                <c:pt idx="3">
                  <c:v>2456999</c:v>
                </c:pt>
                <c:pt idx="4">
                  <c:v>1686737</c:v>
                </c:pt>
                <c:pt idx="5">
                  <c:v>437701</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D34A1C5-A884-4287-AB08-1BE2077ADE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251F446-9829-4D44-BDEA-95F01D122B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83409F6-7BCC-48E9-8D29-C3F406D612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FE9D5FF-F052-464A-A734-05C831B5EE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EE66A92-3AAB-4330-AC94-7A3877F1AF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063C95D-1DA8-4410-B2B6-3F764DF66C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965C9F9-67BF-49F7-B6AD-409F18C921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B15CEB1-699C-4E69-BE06-D7C9C1C2B9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119999999999999</c:v>
                </c:pt>
                <c:pt idx="1">
                  <c:v>1.4815</c:v>
                </c:pt>
                <c:pt idx="2">
                  <c:v>2.4422000000000001</c:v>
                </c:pt>
                <c:pt idx="3">
                  <c:v>2.2902</c:v>
                </c:pt>
                <c:pt idx="4">
                  <c:v>2.4300000000000002</c:v>
                </c:pt>
                <c:pt idx="5">
                  <c:v>2.4110999999999998</c:v>
                </c:pt>
                <c:pt idx="6">
                  <c:v>2.6006</c:v>
                </c:pt>
                <c:pt idx="7">
                  <c:v>1.6876</c:v>
                </c:pt>
              </c:numCache>
            </c:numRef>
          </c:xVal>
          <c:yVal>
            <c:numRef>
              <c:f>Sheet1!$B$2:$B$9</c:f>
              <c:numCache>
                <c:formatCode>General</c:formatCode>
                <c:ptCount val="8"/>
                <c:pt idx="0">
                  <c:v>1.1379999999999999</c:v>
                </c:pt>
                <c:pt idx="1">
                  <c:v>0.68100000000000005</c:v>
                </c:pt>
                <c:pt idx="2">
                  <c:v>1.024</c:v>
                </c:pt>
                <c:pt idx="3">
                  <c:v>1.1160000000000001</c:v>
                </c:pt>
                <c:pt idx="4">
                  <c:v>1.3640000000000001</c:v>
                </c:pt>
                <c:pt idx="5">
                  <c:v>1.085</c:v>
                </c:pt>
                <c:pt idx="6">
                  <c:v>1.0740000000000001</c:v>
                </c:pt>
                <c:pt idx="7">
                  <c:v>1.1719999999999999</c:v>
                </c:pt>
              </c:numCache>
            </c:numRef>
          </c:yVal>
          <c:bubbleSize>
            <c:numRef>
              <c:f>Sheet1!$C$2:$C$9</c:f>
              <c:numCache>
                <c:formatCode>General</c:formatCode>
                <c:ptCount val="8"/>
                <c:pt idx="0">
                  <c:v>51751764</c:v>
                </c:pt>
                <c:pt idx="1">
                  <c:v>33615603</c:v>
                </c:pt>
                <c:pt idx="2">
                  <c:v>26453904</c:v>
                </c:pt>
                <c:pt idx="3">
                  <c:v>18616048</c:v>
                </c:pt>
                <c:pt idx="4">
                  <c:v>16298170</c:v>
                </c:pt>
                <c:pt idx="5">
                  <c:v>11587098</c:v>
                </c:pt>
                <c:pt idx="6">
                  <c:v>7736534</c:v>
                </c:pt>
                <c:pt idx="7">
                  <c:v>2769440</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Tartare</c:v>
                  </c:pt>
                  <c:pt idx="4">
                    <c:v>Boursin</c:v>
                  </c:pt>
                  <c:pt idx="5">
                    <c:v>Carre Frais</c:v>
                  </c:pt>
                  <c:pt idx="6">
                    <c:v>Philadelphia</c:v>
                  </c:pt>
                  <c:pt idx="7">
                    <c:v>Rondel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64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52F8966-C33C-4D69-A040-BFC0B8CAD2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D550895-435A-48C7-877A-D38B957E86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7F2596A-DBB7-4213-BD07-43F00395E4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8EA25D3-E4AC-4B46-83A0-18255486C8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3CD0BF2-2262-4405-90A8-D62A15DFE4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BA13F51-48F2-41D5-A5F6-F516670474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6F52F8B-64C7-4EAF-B8F9-6254796BE4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A747F37-FC33-47FA-9CAC-34EDE671C5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3.0028999999999999</c:v>
                </c:pt>
                <c:pt idx="1">
                  <c:v>2.4232</c:v>
                </c:pt>
                <c:pt idx="2">
                  <c:v>1.6344000000000001</c:v>
                </c:pt>
                <c:pt idx="3">
                  <c:v>2.3706</c:v>
                </c:pt>
                <c:pt idx="4">
                  <c:v>2.4558</c:v>
                </c:pt>
                <c:pt idx="5">
                  <c:v>2.4186999999999999</c:v>
                </c:pt>
                <c:pt idx="6">
                  <c:v>2.6836000000000002</c:v>
                </c:pt>
                <c:pt idx="7">
                  <c:v>1.7345999999999999</c:v>
                </c:pt>
                <c:pt idx="8">
                  <c:v>2.6312000000000002</c:v>
                </c:pt>
              </c:numCache>
            </c:numRef>
          </c:xVal>
          <c:yVal>
            <c:numRef>
              <c:f>Sheet1!$B$2:$B$10</c:f>
              <c:numCache>
                <c:formatCode>General</c:formatCode>
                <c:ptCount val="9"/>
                <c:pt idx="0">
                  <c:v>1.1180000000000001</c:v>
                </c:pt>
                <c:pt idx="1">
                  <c:v>0.95799999999999996</c:v>
                </c:pt>
                <c:pt idx="2">
                  <c:v>0.69299999999999995</c:v>
                </c:pt>
                <c:pt idx="3">
                  <c:v>1.0740000000000001</c:v>
                </c:pt>
                <c:pt idx="4">
                  <c:v>1.3029999999999999</c:v>
                </c:pt>
                <c:pt idx="5">
                  <c:v>1.006</c:v>
                </c:pt>
                <c:pt idx="6">
                  <c:v>1.0009999999999999</c:v>
                </c:pt>
                <c:pt idx="7">
                  <c:v>1.1559999999999999</c:v>
                </c:pt>
                <c:pt idx="8">
                  <c:v>1.4079999999999999</c:v>
                </c:pt>
              </c:numCache>
            </c:numRef>
          </c:yVal>
          <c:bubbleSize>
            <c:numRef>
              <c:f>Sheet1!$C$2:$C$10</c:f>
              <c:numCache>
                <c:formatCode>General</c:formatCode>
                <c:ptCount val="9"/>
                <c:pt idx="0">
                  <c:v>8811592</c:v>
                </c:pt>
                <c:pt idx="1">
                  <c:v>4758479</c:v>
                </c:pt>
                <c:pt idx="2">
                  <c:v>3845963</c:v>
                </c:pt>
                <c:pt idx="3">
                  <c:v>3148857</c:v>
                </c:pt>
                <c:pt idx="4">
                  <c:v>3035900</c:v>
                </c:pt>
                <c:pt idx="5">
                  <c:v>2202030</c:v>
                </c:pt>
                <c:pt idx="6">
                  <c:v>2100704</c:v>
                </c:pt>
                <c:pt idx="7">
                  <c:v>434592</c:v>
                </c:pt>
                <c:pt idx="8">
                  <c:v>306866</c:v>
                </c:pt>
              </c:numCache>
            </c:numRef>
          </c:bubbleSize>
          <c:bubble3D val="0"/>
          <c:extLst>
            <c:ext xmlns:c15="http://schemas.microsoft.com/office/drawing/2012/chart" uri="{02D57815-91ED-43cb-92C2-25804820EDAC}">
              <c15:datalabelsRange>
                <c15:f>Sheet1!$E$2:$E$10</c15:f>
                <c15:dlblRangeCache>
                  <c:ptCount val="9"/>
                  <c:pt idx="0">
                    <c:v>St Moret</c:v>
                  </c:pt>
                  <c:pt idx="1">
                    <c:v>Paysan Breton</c:v>
                  </c:pt>
                  <c:pt idx="2">
                    <c:v>Private Label</c:v>
                  </c:pt>
                  <c:pt idx="3">
                    <c:v>Tartare</c:v>
                  </c:pt>
                  <c:pt idx="4">
                    <c:v>Boursin</c:v>
                  </c:pt>
                  <c:pt idx="5">
                    <c:v>Carre Frais</c:v>
                  </c:pt>
                  <c:pt idx="6">
                    <c:v>Philadelphia</c:v>
                  </c:pt>
                  <c:pt idx="7">
                    <c:v>Rondele</c:v>
                  </c:pt>
                  <c:pt idx="8">
                    <c:v>Kir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0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E8F8B9D-DEDB-45B7-AD9C-72F4AD39EB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943F1CB-01E8-49B0-B9CF-86C55C9DC6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5283382-5DFB-44F5-9FB6-151A69D49E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A5ABA48-1134-4729-9349-C52AA9FA2C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3A5AFCC-2A6F-4D36-A6BB-6ED674DC3F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478A06B-641E-49F6-8975-4EDDB3955D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8B760E2-1AA5-4D8C-B28A-6D4717374D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18BB264-BE8F-4FED-A3F6-669DE09151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9885999999999999</c:v>
                </c:pt>
                <c:pt idx="1">
                  <c:v>1.3731</c:v>
                </c:pt>
                <c:pt idx="2">
                  <c:v>2.4413999999999998</c:v>
                </c:pt>
                <c:pt idx="3">
                  <c:v>2.536</c:v>
                </c:pt>
                <c:pt idx="4">
                  <c:v>2.3258999999999999</c:v>
                </c:pt>
                <c:pt idx="5">
                  <c:v>2.4405000000000001</c:v>
                </c:pt>
                <c:pt idx="6">
                  <c:v>2.4830000000000001</c:v>
                </c:pt>
              </c:numCache>
            </c:numRef>
          </c:xVal>
          <c:yVal>
            <c:numRef>
              <c:f>Sheet1!$B$2:$B$8</c:f>
              <c:numCache>
                <c:formatCode>General</c:formatCode>
                <c:ptCount val="7"/>
                <c:pt idx="0">
                  <c:v>1.0760000000000001</c:v>
                </c:pt>
                <c:pt idx="1">
                  <c:v>0.67600000000000005</c:v>
                </c:pt>
                <c:pt idx="2">
                  <c:v>0.96299999999999997</c:v>
                </c:pt>
                <c:pt idx="3">
                  <c:v>1.319</c:v>
                </c:pt>
                <c:pt idx="4">
                  <c:v>1.081</c:v>
                </c:pt>
                <c:pt idx="5">
                  <c:v>1.038</c:v>
                </c:pt>
                <c:pt idx="6">
                  <c:v>0.98599999999999999</c:v>
                </c:pt>
              </c:numCache>
            </c:numRef>
          </c:yVal>
          <c:bubbleSize>
            <c:numRef>
              <c:f>Sheet1!$C$2:$C$8</c:f>
              <c:numCache>
                <c:formatCode>General</c:formatCode>
                <c:ptCount val="7"/>
                <c:pt idx="0">
                  <c:v>8620814</c:v>
                </c:pt>
                <c:pt idx="1">
                  <c:v>3677885</c:v>
                </c:pt>
                <c:pt idx="2">
                  <c:v>3671057</c:v>
                </c:pt>
                <c:pt idx="3">
                  <c:v>3468819</c:v>
                </c:pt>
                <c:pt idx="4">
                  <c:v>2960143</c:v>
                </c:pt>
                <c:pt idx="5">
                  <c:v>1853432</c:v>
                </c:pt>
                <c:pt idx="6">
                  <c:v>911380</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Boursin</c:v>
                  </c:pt>
                  <c:pt idx="4">
                    <c:v>Tartare</c:v>
                  </c:pt>
                  <c:pt idx="5">
                    <c:v>Carre Frais</c:v>
                  </c:pt>
                  <c:pt idx="6">
                    <c:v>Philadelphi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94350C2-C9F3-4912-B94E-5B49AEB931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3FFB657-2138-4C2F-AB49-0ABC7B2E92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6C0D1B1-BD32-4203-9CDE-B8F26ABF34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704D3AD-5FCF-425A-9B63-9B8C9EA6D5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13AF3A9-A88D-4FA7-833E-BAE282A81A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5CFDF10-6C02-487C-BC3A-BE6A70E657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C8F43F9-E9CA-4CE0-AFB6-46AAAF8634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BC37B85-0DC5-4847-AF9A-E71828F680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9581999999999999</c:v>
                </c:pt>
                <c:pt idx="1">
                  <c:v>2.3494999999999999</c:v>
                </c:pt>
                <c:pt idx="2">
                  <c:v>2.4449999999999998</c:v>
                </c:pt>
                <c:pt idx="3">
                  <c:v>2.9683000000000002</c:v>
                </c:pt>
                <c:pt idx="4">
                  <c:v>2.7303999999999999</c:v>
                </c:pt>
                <c:pt idx="5">
                  <c:v>2.2523</c:v>
                </c:pt>
              </c:numCache>
            </c:numRef>
          </c:xVal>
          <c:yVal>
            <c:numRef>
              <c:f>Sheet1!$B$2:$B$7</c:f>
              <c:numCache>
                <c:formatCode>General</c:formatCode>
                <c:ptCount val="6"/>
                <c:pt idx="0">
                  <c:v>0.89300000000000002</c:v>
                </c:pt>
                <c:pt idx="1">
                  <c:v>1.0309999999999999</c:v>
                </c:pt>
                <c:pt idx="2">
                  <c:v>1.1739999999999999</c:v>
                </c:pt>
                <c:pt idx="3">
                  <c:v>1.04</c:v>
                </c:pt>
                <c:pt idx="4">
                  <c:v>1.427</c:v>
                </c:pt>
                <c:pt idx="5">
                  <c:v>1.472</c:v>
                </c:pt>
              </c:numCache>
            </c:numRef>
          </c:yVal>
          <c:bubbleSize>
            <c:numRef>
              <c:f>Sheet1!$C$2:$C$7</c:f>
              <c:numCache>
                <c:formatCode>General</c:formatCode>
                <c:ptCount val="6"/>
                <c:pt idx="0">
                  <c:v>254514232</c:v>
                </c:pt>
                <c:pt idx="1">
                  <c:v>58401643</c:v>
                </c:pt>
                <c:pt idx="2">
                  <c:v>40044170</c:v>
                </c:pt>
                <c:pt idx="3">
                  <c:v>31611113</c:v>
                </c:pt>
                <c:pt idx="4">
                  <c:v>9755821</c:v>
                </c:pt>
                <c:pt idx="5">
                  <c:v>4718125</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7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E739DCF-5C0F-49BE-B9F5-86A034AA74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C72DCBC-7713-403E-B0FF-1983ABD42B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CD388BD-6986-4E0F-87C4-BE56896BED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B5EBD20-1996-470E-994B-092A6A5198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8D58054-96A5-4D4F-B284-56AC88A3FA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BB91CA5-35CB-48FC-B0D3-888912BBF9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09D7FD8-2D2D-4FFE-B09C-1CBB88B4D4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CF64792-273E-42EA-8E9C-05E5AA086C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1492</c:v>
                </c:pt>
                <c:pt idx="1">
                  <c:v>2.3096999999999999</c:v>
                </c:pt>
                <c:pt idx="2">
                  <c:v>2.6053999999999999</c:v>
                </c:pt>
                <c:pt idx="3">
                  <c:v>3.0032999999999999</c:v>
                </c:pt>
                <c:pt idx="4">
                  <c:v>2.6737000000000002</c:v>
                </c:pt>
                <c:pt idx="5">
                  <c:v>2.1617000000000002</c:v>
                </c:pt>
              </c:numCache>
            </c:numRef>
          </c:xVal>
          <c:yVal>
            <c:numRef>
              <c:f>Sheet1!$B$2:$B$7</c:f>
              <c:numCache>
                <c:formatCode>General</c:formatCode>
                <c:ptCount val="6"/>
                <c:pt idx="0">
                  <c:v>0.89800000000000002</c:v>
                </c:pt>
                <c:pt idx="1">
                  <c:v>0.96599999999999997</c:v>
                </c:pt>
                <c:pt idx="2">
                  <c:v>1.1839999999999999</c:v>
                </c:pt>
                <c:pt idx="3">
                  <c:v>0.96899999999999997</c:v>
                </c:pt>
                <c:pt idx="4">
                  <c:v>1.29</c:v>
                </c:pt>
                <c:pt idx="5">
                  <c:v>1.304</c:v>
                </c:pt>
              </c:numCache>
            </c:numRef>
          </c:yVal>
          <c:bubbleSize>
            <c:numRef>
              <c:f>Sheet1!$C$2:$C$7</c:f>
              <c:numCache>
                <c:formatCode>General</c:formatCode>
                <c:ptCount val="6"/>
                <c:pt idx="0">
                  <c:v>41826347</c:v>
                </c:pt>
                <c:pt idx="1">
                  <c:v>8667322</c:v>
                </c:pt>
                <c:pt idx="2">
                  <c:v>7504143</c:v>
                </c:pt>
                <c:pt idx="3">
                  <c:v>5982438</c:v>
                </c:pt>
                <c:pt idx="4">
                  <c:v>1935509</c:v>
                </c:pt>
                <c:pt idx="5">
                  <c:v>1289340</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1F28FDE-9D6F-4B68-92D5-9C2F49D4A3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ABDB387-F0DA-4499-BD77-4989632A6A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F72C7F9-2558-44ED-AE7C-975B1DDB19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1C67C51-99C0-40B3-BC63-E9CD96D3A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D612289-F61C-4BC6-810E-7CD0344882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DC68DC9-8F5F-45BD-97A7-B238B5976F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A19D3EC-C2DC-450E-BFF0-6B3D4105D6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2CAA710-2643-43BC-8C66-ACEF2C9AA2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9205000000000001</c:v>
                </c:pt>
                <c:pt idx="1">
                  <c:v>2.4689000000000001</c:v>
                </c:pt>
                <c:pt idx="2">
                  <c:v>2.9990000000000001</c:v>
                </c:pt>
                <c:pt idx="3">
                  <c:v>2.4729000000000001</c:v>
                </c:pt>
                <c:pt idx="4">
                  <c:v>2.9125000000000001</c:v>
                </c:pt>
                <c:pt idx="5">
                  <c:v>2.4173</c:v>
                </c:pt>
              </c:numCache>
            </c:numRef>
          </c:xVal>
          <c:yVal>
            <c:numRef>
              <c:f>Sheet1!$B$2:$B$7</c:f>
              <c:numCache>
                <c:formatCode>General</c:formatCode>
                <c:ptCount val="6"/>
                <c:pt idx="0">
                  <c:v>0.86799999999999999</c:v>
                </c:pt>
                <c:pt idx="1">
                  <c:v>1.0820000000000001</c:v>
                </c:pt>
                <c:pt idx="2">
                  <c:v>1.048</c:v>
                </c:pt>
                <c:pt idx="3">
                  <c:v>1.2310000000000001</c:v>
                </c:pt>
                <c:pt idx="4">
                  <c:v>1.5529999999999999</c:v>
                </c:pt>
                <c:pt idx="5">
                  <c:v>1.615</c:v>
                </c:pt>
              </c:numCache>
            </c:numRef>
          </c:yVal>
          <c:bubbleSize>
            <c:numRef>
              <c:f>Sheet1!$C$2:$C$7</c:f>
              <c:numCache>
                <c:formatCode>General</c:formatCode>
                <c:ptCount val="6"/>
                <c:pt idx="0">
                  <c:v>28870053</c:v>
                </c:pt>
                <c:pt idx="1">
                  <c:v>11602323</c:v>
                </c:pt>
                <c:pt idx="2">
                  <c:v>5268160</c:v>
                </c:pt>
                <c:pt idx="3">
                  <c:v>3859441</c:v>
                </c:pt>
                <c:pt idx="4">
                  <c:v>1520505</c:v>
                </c:pt>
                <c:pt idx="5">
                  <c:v>772136</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Salakis</c:v>
                  </c:pt>
                  <c:pt idx="3">
                    <c:v>Casa Azzurra</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1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B$2:$B$10</c:f>
              <c:numCache>
                <c:formatCode>General</c:formatCode>
                <c:ptCount val="9"/>
                <c:pt idx="0">
                  <c:v>2.173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C$2:$C$10</c:f>
              <c:numCache>
                <c:formatCode>General</c:formatCode>
                <c:ptCount val="9"/>
                <c:pt idx="0">
                  <c:v>1.3553999999999999</c:v>
                </c:pt>
                <c:pt idx="3">
                  <c:v>1.6195999999999999</c:v>
                </c:pt>
                <c:pt idx="7">
                  <c:v>1.8734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D$2:$D$10</c:f>
              <c:numCache>
                <c:formatCode>General</c:formatCode>
                <c:ptCount val="9"/>
                <c:pt idx="0">
                  <c:v>1.8119000000000001</c:v>
                </c:pt>
                <c:pt idx="3">
                  <c:v>3.0081000000000002</c:v>
                </c:pt>
                <c:pt idx="4">
                  <c:v>2.3248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E$2:$E$10</c:f>
              <c:numCache>
                <c:formatCode>General</c:formatCode>
                <c:ptCount val="9"/>
                <c:pt idx="0">
                  <c:v>2.098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F$2:$F$10</c:f>
              <c:numCache>
                <c:formatCode>General</c:formatCode>
                <c:ptCount val="9"/>
                <c:pt idx="0">
                  <c:v>2.4407000000000001</c:v>
                </c:pt>
                <c:pt idx="1">
                  <c:v>3.7231999999999998</c:v>
                </c:pt>
                <c:pt idx="5">
                  <c:v>2.2940999999999998</c:v>
                </c:pt>
                <c:pt idx="6">
                  <c:v>3.140200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G$2:$G$10</c:f>
              <c:numCache>
                <c:formatCode>General</c:formatCode>
                <c:ptCount val="9"/>
                <c:pt idx="0">
                  <c:v>2.0844999999999998</c:v>
                </c:pt>
                <c:pt idx="1">
                  <c:v>3.2993999999999999</c:v>
                </c:pt>
                <c:pt idx="2">
                  <c:v>2.062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H$2:$H$10</c:f>
              <c:numCache>
                <c:formatCode>General</c:formatCode>
                <c:ptCount val="9"/>
                <c:pt idx="0">
                  <c:v>2.3471000000000002</c:v>
                </c:pt>
                <c:pt idx="4">
                  <c:v>3.4746000000000001</c:v>
                </c:pt>
                <c:pt idx="6">
                  <c:v>3.505999999999999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I$2:$I$10</c:f>
              <c:numCache>
                <c:formatCode>General</c:formatCode>
                <c:ptCount val="9"/>
                <c:pt idx="0">
                  <c:v>2.2717000000000001</c:v>
                </c:pt>
                <c:pt idx="8">
                  <c:v>2.739599999999999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J$2:$J$10</c:f>
              <c:numCache>
                <c:formatCode>General</c:formatCode>
                <c:ptCount val="9"/>
                <c:pt idx="0">
                  <c:v>2.74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K$2:$K$10</c:f>
              <c:numCache>
                <c:formatCode>General</c:formatCode>
                <c:ptCount val="9"/>
                <c:pt idx="0">
                  <c:v>2.941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L$2:$L$10</c:f>
              <c:numCache>
                <c:formatCode>General</c:formatCode>
                <c:ptCount val="9"/>
                <c:pt idx="0">
                  <c:v>3.8161999999999998</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E60A23D-2993-453D-8F37-5670FD1C91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8927DA3-CDA7-4A12-BB1E-2E401FBA13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BAEB75A-2401-4172-85C7-42A49A20D0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6C43103-CA9F-4F9D-BF79-77605087E3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CCB9A34-3A89-4065-80D7-8C0347AF4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FB97508-4996-430A-B20A-7C8210027B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0F5D6D1-91DE-498A-A3D0-1AD753512F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3A4AB58-9A7C-4353-A14E-3ECE337F8C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1996000000000002</c:v>
                </c:pt>
                <c:pt idx="1">
                  <c:v>2.4110999999999998</c:v>
                </c:pt>
                <c:pt idx="2">
                  <c:v>2.9895</c:v>
                </c:pt>
                <c:pt idx="3">
                  <c:v>2.3096999999999999</c:v>
                </c:pt>
                <c:pt idx="4">
                  <c:v>2.8786</c:v>
                </c:pt>
                <c:pt idx="5">
                  <c:v>3.3563000000000001</c:v>
                </c:pt>
                <c:pt idx="6">
                  <c:v>2.6053999999999999</c:v>
                </c:pt>
                <c:pt idx="7">
                  <c:v>2.4415</c:v>
                </c:pt>
                <c:pt idx="8">
                  <c:v>3.2258</c:v>
                </c:pt>
              </c:numCache>
            </c:numRef>
          </c:xVal>
          <c:yVal>
            <c:numRef>
              <c:f>Sheet1!$B$2:$B$10</c:f>
              <c:numCache>
                <c:formatCode>General</c:formatCode>
                <c:ptCount val="9"/>
                <c:pt idx="0">
                  <c:v>0.86899999999999999</c:v>
                </c:pt>
                <c:pt idx="1">
                  <c:v>0.747</c:v>
                </c:pt>
                <c:pt idx="2">
                  <c:v>1.079</c:v>
                </c:pt>
                <c:pt idx="3">
                  <c:v>1.0529999999999999</c:v>
                </c:pt>
                <c:pt idx="4">
                  <c:v>1.0029999999999999</c:v>
                </c:pt>
                <c:pt idx="5">
                  <c:v>1.1200000000000001</c:v>
                </c:pt>
                <c:pt idx="6">
                  <c:v>1.29</c:v>
                </c:pt>
                <c:pt idx="7">
                  <c:v>0.65600000000000003</c:v>
                </c:pt>
                <c:pt idx="8">
                  <c:v>0.80500000000000005</c:v>
                </c:pt>
              </c:numCache>
            </c:numRef>
          </c:yVal>
          <c:bubbleSize>
            <c:numRef>
              <c:f>Sheet1!$C$2:$C$10</c:f>
              <c:numCache>
                <c:formatCode>General</c:formatCode>
                <c:ptCount val="9"/>
                <c:pt idx="0">
                  <c:v>78402914</c:v>
                </c:pt>
                <c:pt idx="1">
                  <c:v>9302551</c:v>
                </c:pt>
                <c:pt idx="2">
                  <c:v>9161063</c:v>
                </c:pt>
                <c:pt idx="3">
                  <c:v>8667367</c:v>
                </c:pt>
                <c:pt idx="4">
                  <c:v>8594536</c:v>
                </c:pt>
                <c:pt idx="5">
                  <c:v>8328333</c:v>
                </c:pt>
                <c:pt idx="6">
                  <c:v>7504143</c:v>
                </c:pt>
                <c:pt idx="7">
                  <c:v>6782881</c:v>
                </c:pt>
                <c:pt idx="8">
                  <c:v>6741136</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t Moret</c:v>
                  </c:pt>
                  <c:pt idx="3">
                    <c:v>Galbani</c:v>
                  </c:pt>
                  <c:pt idx="4">
                    <c:v>Soignon</c:v>
                  </c:pt>
                  <c:pt idx="5">
                    <c:v>Caprice Des Dieux</c:v>
                  </c:pt>
                  <c:pt idx="6">
                    <c:v>Casa Azzurra</c:v>
                  </c:pt>
                  <c:pt idx="7">
                    <c:v>Coeur De Lion</c:v>
                  </c:pt>
                  <c:pt idx="8">
                    <c:v>La Vache Qui Ri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B$2:$B$10</c:f>
              <c:numCache>
                <c:formatCode>General</c:formatCode>
                <c:ptCount val="9"/>
                <c:pt idx="0">
                  <c:v>2.3521999999999998</c:v>
                </c:pt>
                <c:pt idx="1">
                  <c:v>2.83300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C$2:$C$10</c:f>
              <c:numCache>
                <c:formatCode>General</c:formatCode>
                <c:ptCount val="9"/>
                <c:pt idx="0">
                  <c:v>1.4641999999999999</c:v>
                </c:pt>
                <c:pt idx="1">
                  <c:v>2.5745</c:v>
                </c:pt>
                <c:pt idx="4">
                  <c:v>1.716</c:v>
                </c:pt>
                <c:pt idx="7">
                  <c:v>2.0792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D$2:$D$10</c:f>
              <c:numCache>
                <c:formatCode>General</c:formatCode>
                <c:ptCount val="9"/>
                <c:pt idx="0">
                  <c:v>2.0785999999999998</c:v>
                </c:pt>
                <c:pt idx="1">
                  <c:v>3.2345000000000002</c:v>
                </c:pt>
                <c:pt idx="3">
                  <c:v>2.4662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E$2:$E$10</c:f>
              <c:numCache>
                <c:formatCode>General</c:formatCode>
                <c:ptCount val="9"/>
                <c:pt idx="0">
                  <c:v>2.226399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F$2:$F$10</c:f>
              <c:numCache>
                <c:formatCode>General</c:formatCode>
                <c:ptCount val="9"/>
                <c:pt idx="0">
                  <c:v>2.6680999999999999</c:v>
                </c:pt>
                <c:pt idx="1">
                  <c:v>3.9357000000000002</c:v>
                </c:pt>
                <c:pt idx="5">
                  <c:v>2.4548999999999999</c:v>
                </c:pt>
                <c:pt idx="6">
                  <c:v>3.258300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G$2:$G$10</c:f>
              <c:numCache>
                <c:formatCode>General</c:formatCode>
                <c:ptCount val="9"/>
                <c:pt idx="0">
                  <c:v>2.2673999999999999</c:v>
                </c:pt>
                <c:pt idx="1">
                  <c:v>3.6017000000000001</c:v>
                </c:pt>
                <c:pt idx="2">
                  <c:v>2.1034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H$2:$H$10</c:f>
              <c:numCache>
                <c:formatCode>General</c:formatCode>
                <c:ptCount val="9"/>
                <c:pt idx="0">
                  <c:v>2.3803000000000001</c:v>
                </c:pt>
                <c:pt idx="6">
                  <c:v>3.644699999999999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I$2:$I$10</c:f>
              <c:numCache>
                <c:formatCode>General</c:formatCode>
                <c:ptCount val="9"/>
                <c:pt idx="0">
                  <c:v>2.2715000000000001</c:v>
                </c:pt>
                <c:pt idx="8">
                  <c:v>2.95630000000000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J$2:$J$10</c:f>
              <c:numCache>
                <c:formatCode>General</c:formatCode>
                <c:ptCount val="9"/>
                <c:pt idx="0">
                  <c:v>2.726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K$2:$K$10</c:f>
              <c:numCache>
                <c:formatCode>General</c:formatCode>
                <c:ptCount val="9"/>
                <c:pt idx="0">
                  <c:v>3.2818000000000001</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Galbani</c:v>
                </c:pt>
                <c:pt idx="2">
                  <c:v>All Others</c:v>
                </c:pt>
                <c:pt idx="3">
                  <c:v>President</c:v>
                </c:pt>
                <c:pt idx="4">
                  <c:v>St Moret</c:v>
                </c:pt>
                <c:pt idx="5">
                  <c:v>Soignon</c:v>
                </c:pt>
                <c:pt idx="6">
                  <c:v>Caprice Des Dieux</c:v>
                </c:pt>
                <c:pt idx="7">
                  <c:v>Coeur De Lion</c:v>
                </c:pt>
                <c:pt idx="8">
                  <c:v>Apericube</c:v>
                </c:pt>
              </c:strCache>
            </c:strRef>
          </c:cat>
          <c:val>
            <c:numRef>
              <c:f>Sheet1!$B$2:$B$10</c:f>
              <c:numCache>
                <c:formatCode>General</c:formatCode>
                <c:ptCount val="9"/>
                <c:pt idx="0">
                  <c:v>1.3976999999999999</c:v>
                </c:pt>
                <c:pt idx="1">
                  <c:v>1.6447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Galbani</c:v>
                </c:pt>
                <c:pt idx="2">
                  <c:v>All Others</c:v>
                </c:pt>
                <c:pt idx="3">
                  <c:v>President</c:v>
                </c:pt>
                <c:pt idx="4">
                  <c:v>St Moret</c:v>
                </c:pt>
                <c:pt idx="5">
                  <c:v>Soignon</c:v>
                </c:pt>
                <c:pt idx="6">
                  <c:v>Caprice Des Dieux</c:v>
                </c:pt>
                <c:pt idx="7">
                  <c:v>Coeur De Lion</c:v>
                </c:pt>
                <c:pt idx="8">
                  <c:v>Apericube</c:v>
                </c:pt>
              </c:strCache>
            </c:strRef>
          </c:cat>
          <c:val>
            <c:numRef>
              <c:f>Sheet1!$C$2:$C$10</c:f>
              <c:numCache>
                <c:formatCode>General</c:formatCode>
                <c:ptCount val="9"/>
                <c:pt idx="0">
                  <c:v>1.7119</c:v>
                </c:pt>
                <c:pt idx="1">
                  <c:v>3.1242999999999999</c:v>
                </c:pt>
                <c:pt idx="4">
                  <c:v>2.3075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Galbani</c:v>
                </c:pt>
                <c:pt idx="2">
                  <c:v>All Others</c:v>
                </c:pt>
                <c:pt idx="3">
                  <c:v>President</c:v>
                </c:pt>
                <c:pt idx="4">
                  <c:v>St Moret</c:v>
                </c:pt>
                <c:pt idx="5">
                  <c:v>Soignon</c:v>
                </c:pt>
                <c:pt idx="6">
                  <c:v>Caprice Des Dieux</c:v>
                </c:pt>
                <c:pt idx="7">
                  <c:v>Coeur De Lion</c:v>
                </c:pt>
                <c:pt idx="8">
                  <c:v>Apericube</c:v>
                </c:pt>
              </c:strCache>
            </c:strRef>
          </c:cat>
          <c:val>
            <c:numRef>
              <c:f>Sheet1!$D$2:$D$10</c:f>
              <c:numCache>
                <c:formatCode>General</c:formatCode>
                <c:ptCount val="9"/>
                <c:pt idx="5">
                  <c:v>2.6882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Galbani</c:v>
                </c:pt>
                <c:pt idx="2">
                  <c:v>All Others</c:v>
                </c:pt>
                <c:pt idx="3">
                  <c:v>President</c:v>
                </c:pt>
                <c:pt idx="4">
                  <c:v>St Moret</c:v>
                </c:pt>
                <c:pt idx="5">
                  <c:v>Soignon</c:v>
                </c:pt>
                <c:pt idx="6">
                  <c:v>Caprice Des Dieux</c:v>
                </c:pt>
                <c:pt idx="7">
                  <c:v>Coeur De Lion</c:v>
                </c:pt>
                <c:pt idx="8">
                  <c:v>Apericube</c:v>
                </c:pt>
              </c:strCache>
            </c:strRef>
          </c:cat>
          <c:val>
            <c:numRef>
              <c:f>Sheet1!$E$2:$E$10</c:f>
              <c:numCache>
                <c:formatCode>General</c:formatCode>
                <c:ptCount val="9"/>
                <c:pt idx="0">
                  <c:v>2.5261999999999998</c:v>
                </c:pt>
                <c:pt idx="5">
                  <c:v>2.2808999999999999</c:v>
                </c:pt>
                <c:pt idx="6">
                  <c:v>3.032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Galbani</c:v>
                </c:pt>
                <c:pt idx="2">
                  <c:v>All Others</c:v>
                </c:pt>
                <c:pt idx="3">
                  <c:v>President</c:v>
                </c:pt>
                <c:pt idx="4">
                  <c:v>St Moret</c:v>
                </c:pt>
                <c:pt idx="5">
                  <c:v>Soignon</c:v>
                </c:pt>
                <c:pt idx="6">
                  <c:v>Caprice Des Dieux</c:v>
                </c:pt>
                <c:pt idx="7">
                  <c:v>Coeur De Lion</c:v>
                </c:pt>
                <c:pt idx="8">
                  <c:v>Apericube</c:v>
                </c:pt>
              </c:strCache>
            </c:strRef>
          </c:cat>
          <c:val>
            <c:numRef>
              <c:f>Sheet1!$F$2:$F$10</c:f>
              <c:numCache>
                <c:formatCode>General</c:formatCode>
                <c:ptCount val="9"/>
                <c:pt idx="0">
                  <c:v>1.8571</c:v>
                </c:pt>
                <c:pt idx="2">
                  <c:v>3.1257000000000001</c:v>
                </c:pt>
                <c:pt idx="3">
                  <c:v>2.1446000000000001</c:v>
                </c:pt>
                <c:pt idx="8">
                  <c:v>4.410300000000000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Galbani</c:v>
                </c:pt>
                <c:pt idx="2">
                  <c:v>All Others</c:v>
                </c:pt>
                <c:pt idx="3">
                  <c:v>President</c:v>
                </c:pt>
                <c:pt idx="4">
                  <c:v>St Moret</c:v>
                </c:pt>
                <c:pt idx="5">
                  <c:v>Soignon</c:v>
                </c:pt>
                <c:pt idx="6">
                  <c:v>Caprice Des Dieux</c:v>
                </c:pt>
                <c:pt idx="7">
                  <c:v>Coeur De Lion</c:v>
                </c:pt>
                <c:pt idx="8">
                  <c:v>Apericube</c:v>
                </c:pt>
              </c:strCache>
            </c:strRef>
          </c:cat>
          <c:val>
            <c:numRef>
              <c:f>Sheet1!$G$2:$G$10</c:f>
              <c:numCache>
                <c:formatCode>General</c:formatCode>
                <c:ptCount val="9"/>
                <c:pt idx="0">
                  <c:v>2.4792000000000001</c:v>
                </c:pt>
                <c:pt idx="4">
                  <c:v>3.6204000000000001</c:v>
                </c:pt>
                <c:pt idx="5">
                  <c:v>3.2179000000000002</c:v>
                </c:pt>
                <c:pt idx="6">
                  <c:v>3.766999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Galbani</c:v>
                </c:pt>
                <c:pt idx="2">
                  <c:v>All Others</c:v>
                </c:pt>
                <c:pt idx="3">
                  <c:v>President</c:v>
                </c:pt>
                <c:pt idx="4">
                  <c:v>St Moret</c:v>
                </c:pt>
                <c:pt idx="5">
                  <c:v>Soignon</c:v>
                </c:pt>
                <c:pt idx="6">
                  <c:v>Caprice Des Dieux</c:v>
                </c:pt>
                <c:pt idx="7">
                  <c:v>Coeur De Lion</c:v>
                </c:pt>
                <c:pt idx="8">
                  <c:v>Apericube</c:v>
                </c:pt>
              </c:strCache>
            </c:strRef>
          </c:cat>
          <c:val>
            <c:numRef>
              <c:f>Sheet1!$H$2:$H$10</c:f>
              <c:numCache>
                <c:formatCode>General</c:formatCode>
                <c:ptCount val="9"/>
                <c:pt idx="0">
                  <c:v>2.2565</c:v>
                </c:pt>
                <c:pt idx="3">
                  <c:v>2.9597000000000002</c:v>
                </c:pt>
                <c:pt idx="7">
                  <c:v>2.844399999999999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7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Galbani</c:v>
                </c:pt>
                <c:pt idx="2">
                  <c:v>All Others</c:v>
                </c:pt>
                <c:pt idx="3">
                  <c:v>President</c:v>
                </c:pt>
                <c:pt idx="4">
                  <c:v>St Moret</c:v>
                </c:pt>
                <c:pt idx="5">
                  <c:v>Soignon</c:v>
                </c:pt>
                <c:pt idx="6">
                  <c:v>Caprice Des Dieux</c:v>
                </c:pt>
                <c:pt idx="7">
                  <c:v>Coeur De Lion</c:v>
                </c:pt>
                <c:pt idx="8">
                  <c:v>Apericube</c:v>
                </c:pt>
              </c:strCache>
            </c:strRef>
          </c:cat>
          <c:val>
            <c:numRef>
              <c:f>Sheet1!$I$2:$I$10</c:f>
              <c:numCache>
                <c:formatCode>General</c:formatCode>
                <c:ptCount val="9"/>
                <c:pt idx="1">
                  <c:v>3.55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Galbani</c:v>
                </c:pt>
                <c:pt idx="2">
                  <c:v>All Others</c:v>
                </c:pt>
                <c:pt idx="3">
                  <c:v>President</c:v>
                </c:pt>
                <c:pt idx="4">
                  <c:v>St Moret</c:v>
                </c:pt>
                <c:pt idx="5">
                  <c:v>Soignon</c:v>
                </c:pt>
                <c:pt idx="6">
                  <c:v>Caprice Des Dieux</c:v>
                </c:pt>
                <c:pt idx="7">
                  <c:v>Coeur De Lion</c:v>
                </c:pt>
                <c:pt idx="8">
                  <c:v>Apericube</c:v>
                </c:pt>
              </c:strCache>
            </c:strRef>
          </c:cat>
          <c:val>
            <c:numRef>
              <c:f>Sheet1!$J$2:$J$10</c:f>
              <c:numCache>
                <c:formatCode>General</c:formatCode>
                <c:ptCount val="9"/>
                <c:pt idx="0">
                  <c:v>3.1678999999999999</c:v>
                </c:pt>
                <c:pt idx="4">
                  <c:v>4.493699999999999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Galbani</c:v>
                </c:pt>
                <c:pt idx="2">
                  <c:v>All Others</c:v>
                </c:pt>
                <c:pt idx="3">
                  <c:v>President</c:v>
                </c:pt>
                <c:pt idx="4">
                  <c:v>St Moret</c:v>
                </c:pt>
                <c:pt idx="5">
                  <c:v>Soignon</c:v>
                </c:pt>
                <c:pt idx="6">
                  <c:v>Caprice Des Dieux</c:v>
                </c:pt>
                <c:pt idx="7">
                  <c:v>Coeur De Lion</c:v>
                </c:pt>
                <c:pt idx="8">
                  <c:v>Apericube</c:v>
                </c:pt>
              </c:strCache>
            </c:strRef>
          </c:cat>
          <c:val>
            <c:numRef>
              <c:f>Sheet1!$K$2:$K$10</c:f>
              <c:numCache>
                <c:formatCode>General</c:formatCode>
                <c:ptCount val="9"/>
                <c:pt idx="0">
                  <c:v>3.7589999999999999</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B$2:$B$10</c:f>
              <c:numCache>
                <c:formatCode>General</c:formatCode>
                <c:ptCount val="9"/>
                <c:pt idx="0">
                  <c:v>2.173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C$2:$C$10</c:f>
              <c:numCache>
                <c:formatCode>General</c:formatCode>
                <c:ptCount val="9"/>
                <c:pt idx="0">
                  <c:v>1.3553999999999999</c:v>
                </c:pt>
                <c:pt idx="3">
                  <c:v>1.6195999999999999</c:v>
                </c:pt>
                <c:pt idx="7">
                  <c:v>1.8734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D$2:$D$10</c:f>
              <c:numCache>
                <c:formatCode>General</c:formatCode>
                <c:ptCount val="9"/>
                <c:pt idx="0">
                  <c:v>1.8089999999999999</c:v>
                </c:pt>
                <c:pt idx="3">
                  <c:v>3.0081000000000002</c:v>
                </c:pt>
                <c:pt idx="4">
                  <c:v>2.3248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E$2:$E$10</c:f>
              <c:numCache>
                <c:formatCode>General</c:formatCode>
                <c:ptCount val="9"/>
                <c:pt idx="0">
                  <c:v>2.098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F$2:$F$10</c:f>
              <c:numCache>
                <c:formatCode>General</c:formatCode>
                <c:ptCount val="9"/>
                <c:pt idx="0">
                  <c:v>2.4413</c:v>
                </c:pt>
                <c:pt idx="1">
                  <c:v>3.7185000000000001</c:v>
                </c:pt>
                <c:pt idx="5">
                  <c:v>2.2940999999999998</c:v>
                </c:pt>
                <c:pt idx="6">
                  <c:v>3.140200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G$2:$G$10</c:f>
              <c:numCache>
                <c:formatCode>General</c:formatCode>
                <c:ptCount val="9"/>
                <c:pt idx="0">
                  <c:v>2.0844999999999998</c:v>
                </c:pt>
                <c:pt idx="1">
                  <c:v>3.2993999999999999</c:v>
                </c:pt>
                <c:pt idx="2">
                  <c:v>2.062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H$2:$H$10</c:f>
              <c:numCache>
                <c:formatCode>General</c:formatCode>
                <c:ptCount val="9"/>
                <c:pt idx="0">
                  <c:v>2.3471000000000002</c:v>
                </c:pt>
                <c:pt idx="4">
                  <c:v>3.4746000000000001</c:v>
                </c:pt>
                <c:pt idx="6">
                  <c:v>3.505999999999999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I$2:$I$10</c:f>
              <c:numCache>
                <c:formatCode>General</c:formatCode>
                <c:ptCount val="9"/>
                <c:pt idx="0">
                  <c:v>2.2717000000000001</c:v>
                </c:pt>
                <c:pt idx="8">
                  <c:v>2.739599999999999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J$2:$J$10</c:f>
              <c:numCache>
                <c:formatCode>General</c:formatCode>
                <c:ptCount val="9"/>
                <c:pt idx="0">
                  <c:v>2.74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K$2:$K$10</c:f>
              <c:numCache>
                <c:formatCode>General</c:formatCode>
                <c:ptCount val="9"/>
                <c:pt idx="0">
                  <c:v>2.941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Galbani</c:v>
                </c:pt>
                <c:pt idx="4">
                  <c:v>St Moret</c:v>
                </c:pt>
                <c:pt idx="5">
                  <c:v>Soignon</c:v>
                </c:pt>
                <c:pt idx="6">
                  <c:v>Caprice Des Dieux</c:v>
                </c:pt>
                <c:pt idx="7">
                  <c:v>Casa Azzurra</c:v>
                </c:pt>
                <c:pt idx="8">
                  <c:v>Coeur De Lion</c:v>
                </c:pt>
              </c:strCache>
            </c:strRef>
          </c:cat>
          <c:val>
            <c:numRef>
              <c:f>Sheet1!$L$2:$L$10</c:f>
              <c:numCache>
                <c:formatCode>General</c:formatCode>
                <c:ptCount val="9"/>
                <c:pt idx="0">
                  <c:v>3.8161999999999998</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B$2:$B$10</c:f>
              <c:numCache>
                <c:formatCode>General</c:formatCode>
                <c:ptCount val="9"/>
                <c:pt idx="0">
                  <c:v>2.3521999999999998</c:v>
                </c:pt>
                <c:pt idx="1">
                  <c:v>2.8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C$2:$C$10</c:f>
              <c:numCache>
                <c:formatCode>General</c:formatCode>
                <c:ptCount val="9"/>
                <c:pt idx="0">
                  <c:v>1.4641999999999999</c:v>
                </c:pt>
                <c:pt idx="1">
                  <c:v>2.5737000000000001</c:v>
                </c:pt>
                <c:pt idx="4">
                  <c:v>1.716</c:v>
                </c:pt>
                <c:pt idx="7">
                  <c:v>2.0792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D$2:$D$10</c:f>
              <c:numCache>
                <c:formatCode>General</c:formatCode>
                <c:ptCount val="9"/>
                <c:pt idx="0">
                  <c:v>2.0785999999999998</c:v>
                </c:pt>
                <c:pt idx="1">
                  <c:v>3.2280000000000002</c:v>
                </c:pt>
                <c:pt idx="3">
                  <c:v>2.4662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E$2:$E$10</c:f>
              <c:numCache>
                <c:formatCode>General</c:formatCode>
                <c:ptCount val="9"/>
                <c:pt idx="0">
                  <c:v>2.2263999999999999</c:v>
                </c:pt>
                <c:pt idx="5">
                  <c:v>2.739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F$2:$F$10</c:f>
              <c:numCache>
                <c:formatCode>General</c:formatCode>
                <c:ptCount val="9"/>
                <c:pt idx="0">
                  <c:v>2.6680999999999999</c:v>
                </c:pt>
                <c:pt idx="1">
                  <c:v>3.9329999999999998</c:v>
                </c:pt>
                <c:pt idx="5">
                  <c:v>2.4548999999999999</c:v>
                </c:pt>
                <c:pt idx="6">
                  <c:v>3.258300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G$2:$G$10</c:f>
              <c:numCache>
                <c:formatCode>General</c:formatCode>
                <c:ptCount val="9"/>
                <c:pt idx="0">
                  <c:v>2.2673999999999999</c:v>
                </c:pt>
                <c:pt idx="1">
                  <c:v>3.6017000000000001</c:v>
                </c:pt>
                <c:pt idx="2">
                  <c:v>2.1034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H$2:$H$10</c:f>
              <c:numCache>
                <c:formatCode>General</c:formatCode>
                <c:ptCount val="9"/>
                <c:pt idx="0">
                  <c:v>2.3803000000000001</c:v>
                </c:pt>
                <c:pt idx="6">
                  <c:v>3.644699999999999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I$2:$I$10</c:f>
              <c:numCache>
                <c:formatCode>General</c:formatCode>
                <c:ptCount val="9"/>
                <c:pt idx="0">
                  <c:v>2.2715000000000001</c:v>
                </c:pt>
                <c:pt idx="8">
                  <c:v>2.95630000000000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J$2:$J$10</c:f>
              <c:numCache>
                <c:formatCode>General</c:formatCode>
                <c:ptCount val="9"/>
                <c:pt idx="0">
                  <c:v>2.726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Private Label</c:v>
                </c:pt>
                <c:pt idx="1">
                  <c:v>All Others</c:v>
                </c:pt>
                <c:pt idx="2">
                  <c:v>President</c:v>
                </c:pt>
                <c:pt idx="3">
                  <c:v>St Moret</c:v>
                </c:pt>
                <c:pt idx="4">
                  <c:v>Galbani</c:v>
                </c:pt>
                <c:pt idx="5">
                  <c:v>Soignon</c:v>
                </c:pt>
                <c:pt idx="6">
                  <c:v>Caprice Des Dieux</c:v>
                </c:pt>
                <c:pt idx="7">
                  <c:v>Casa Azzurra</c:v>
                </c:pt>
                <c:pt idx="8">
                  <c:v>Coeur De Lion</c:v>
                </c:pt>
              </c:strCache>
            </c:strRef>
          </c:cat>
          <c:val>
            <c:numRef>
              <c:f>Sheet1!$K$2:$K$10</c:f>
              <c:numCache>
                <c:formatCode>General</c:formatCode>
                <c:ptCount val="9"/>
                <c:pt idx="0">
                  <c:v>3.2818000000000001</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Galbani</c:v>
                </c:pt>
                <c:pt idx="2">
                  <c:v>All Others</c:v>
                </c:pt>
                <c:pt idx="3">
                  <c:v>President</c:v>
                </c:pt>
                <c:pt idx="4">
                  <c:v>St Moret</c:v>
                </c:pt>
                <c:pt idx="5">
                  <c:v>Soignon</c:v>
                </c:pt>
                <c:pt idx="6">
                  <c:v>Caprice Des Dieux</c:v>
                </c:pt>
                <c:pt idx="7">
                  <c:v>Coeur De Lion</c:v>
                </c:pt>
              </c:strCache>
            </c:strRef>
          </c:cat>
          <c:val>
            <c:numRef>
              <c:f>Sheet1!$B$2:$B$9</c:f>
              <c:numCache>
                <c:formatCode>General</c:formatCode>
                <c:ptCount val="8"/>
                <c:pt idx="0">
                  <c:v>1.3976999999999999</c:v>
                </c:pt>
                <c:pt idx="1">
                  <c:v>1.6447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Galbani</c:v>
                </c:pt>
                <c:pt idx="2">
                  <c:v>All Others</c:v>
                </c:pt>
                <c:pt idx="3">
                  <c:v>President</c:v>
                </c:pt>
                <c:pt idx="4">
                  <c:v>St Moret</c:v>
                </c:pt>
                <c:pt idx="5">
                  <c:v>Soignon</c:v>
                </c:pt>
                <c:pt idx="6">
                  <c:v>Caprice Des Dieux</c:v>
                </c:pt>
                <c:pt idx="7">
                  <c:v>Coeur De Lion</c:v>
                </c:pt>
              </c:strCache>
            </c:strRef>
          </c:cat>
          <c:val>
            <c:numRef>
              <c:f>Sheet1!$C$2:$C$9</c:f>
              <c:numCache>
                <c:formatCode>General</c:formatCode>
                <c:ptCount val="8"/>
                <c:pt idx="0">
                  <c:v>1.7119</c:v>
                </c:pt>
                <c:pt idx="1">
                  <c:v>3.1242999999999999</c:v>
                </c:pt>
                <c:pt idx="4">
                  <c:v>2.3075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Galbani</c:v>
                </c:pt>
                <c:pt idx="2">
                  <c:v>All Others</c:v>
                </c:pt>
                <c:pt idx="3">
                  <c:v>President</c:v>
                </c:pt>
                <c:pt idx="4">
                  <c:v>St Moret</c:v>
                </c:pt>
                <c:pt idx="5">
                  <c:v>Soignon</c:v>
                </c:pt>
                <c:pt idx="6">
                  <c:v>Caprice Des Dieux</c:v>
                </c:pt>
                <c:pt idx="7">
                  <c:v>Coeur De Lion</c:v>
                </c:pt>
              </c:strCache>
            </c:strRef>
          </c:cat>
          <c:val>
            <c:numRef>
              <c:f>Sheet1!$D$2:$D$9</c:f>
              <c:numCache>
                <c:formatCode>General</c:formatCode>
                <c:ptCount val="8"/>
                <c:pt idx="3">
                  <c:v>2.1297999999999999</c:v>
                </c:pt>
                <c:pt idx="4">
                  <c:v>2.2938000000000001</c:v>
                </c:pt>
                <c:pt idx="5">
                  <c:v>2.6882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Galbani</c:v>
                </c:pt>
                <c:pt idx="2">
                  <c:v>All Others</c:v>
                </c:pt>
                <c:pt idx="3">
                  <c:v>President</c:v>
                </c:pt>
                <c:pt idx="4">
                  <c:v>St Moret</c:v>
                </c:pt>
                <c:pt idx="5">
                  <c:v>Soignon</c:v>
                </c:pt>
                <c:pt idx="6">
                  <c:v>Caprice Des Dieux</c:v>
                </c:pt>
                <c:pt idx="7">
                  <c:v>Coeur De Lion</c:v>
                </c:pt>
              </c:strCache>
            </c:strRef>
          </c:cat>
          <c:val>
            <c:numRef>
              <c:f>Sheet1!$E$2:$E$9</c:f>
              <c:numCache>
                <c:formatCode>General</c:formatCode>
                <c:ptCount val="8"/>
                <c:pt idx="0">
                  <c:v>2.532</c:v>
                </c:pt>
                <c:pt idx="5">
                  <c:v>2.2808999999999999</c:v>
                </c:pt>
                <c:pt idx="6">
                  <c:v>3.032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Galbani</c:v>
                </c:pt>
                <c:pt idx="2">
                  <c:v>All Others</c:v>
                </c:pt>
                <c:pt idx="3">
                  <c:v>President</c:v>
                </c:pt>
                <c:pt idx="4">
                  <c:v>St Moret</c:v>
                </c:pt>
                <c:pt idx="5">
                  <c:v>Soignon</c:v>
                </c:pt>
                <c:pt idx="6">
                  <c:v>Caprice Des Dieux</c:v>
                </c:pt>
                <c:pt idx="7">
                  <c:v>Coeur De Lion</c:v>
                </c:pt>
              </c:strCache>
            </c:strRef>
          </c:cat>
          <c:val>
            <c:numRef>
              <c:f>Sheet1!$F$2:$F$9</c:f>
              <c:numCache>
                <c:formatCode>General</c:formatCode>
                <c:ptCount val="8"/>
                <c:pt idx="0">
                  <c:v>1.8571</c:v>
                </c:pt>
                <c:pt idx="2">
                  <c:v>3.1257000000000001</c:v>
                </c:pt>
                <c:pt idx="3">
                  <c:v>2.144600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Galbani</c:v>
                </c:pt>
                <c:pt idx="2">
                  <c:v>All Others</c:v>
                </c:pt>
                <c:pt idx="3">
                  <c:v>President</c:v>
                </c:pt>
                <c:pt idx="4">
                  <c:v>St Moret</c:v>
                </c:pt>
                <c:pt idx="5">
                  <c:v>Soignon</c:v>
                </c:pt>
                <c:pt idx="6">
                  <c:v>Caprice Des Dieux</c:v>
                </c:pt>
                <c:pt idx="7">
                  <c:v>Coeur De Lion</c:v>
                </c:pt>
              </c:strCache>
            </c:strRef>
          </c:cat>
          <c:val>
            <c:numRef>
              <c:f>Sheet1!$G$2:$G$9</c:f>
              <c:numCache>
                <c:formatCode>General</c:formatCode>
                <c:ptCount val="8"/>
                <c:pt idx="0">
                  <c:v>2.4792000000000001</c:v>
                </c:pt>
                <c:pt idx="4">
                  <c:v>3.6204000000000001</c:v>
                </c:pt>
                <c:pt idx="5">
                  <c:v>3.2179000000000002</c:v>
                </c:pt>
                <c:pt idx="6">
                  <c:v>3.766999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Galbani</c:v>
                </c:pt>
                <c:pt idx="2">
                  <c:v>All Others</c:v>
                </c:pt>
                <c:pt idx="3">
                  <c:v>President</c:v>
                </c:pt>
                <c:pt idx="4">
                  <c:v>St Moret</c:v>
                </c:pt>
                <c:pt idx="5">
                  <c:v>Soignon</c:v>
                </c:pt>
                <c:pt idx="6">
                  <c:v>Caprice Des Dieux</c:v>
                </c:pt>
                <c:pt idx="7">
                  <c:v>Coeur De Lion</c:v>
                </c:pt>
              </c:strCache>
            </c:strRef>
          </c:cat>
          <c:val>
            <c:numRef>
              <c:f>Sheet1!$H$2:$H$9</c:f>
              <c:numCache>
                <c:formatCode>General</c:formatCode>
                <c:ptCount val="8"/>
                <c:pt idx="0">
                  <c:v>2.2565</c:v>
                </c:pt>
                <c:pt idx="3">
                  <c:v>2.9597000000000002</c:v>
                </c:pt>
                <c:pt idx="7">
                  <c:v>2.844399999999999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7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Galbani</c:v>
                </c:pt>
                <c:pt idx="2">
                  <c:v>All Others</c:v>
                </c:pt>
                <c:pt idx="3">
                  <c:v>President</c:v>
                </c:pt>
                <c:pt idx="4">
                  <c:v>St Moret</c:v>
                </c:pt>
                <c:pt idx="5">
                  <c:v>Soignon</c:v>
                </c:pt>
                <c:pt idx="6">
                  <c:v>Caprice Des Dieux</c:v>
                </c:pt>
                <c:pt idx="7">
                  <c:v>Coeur De Lion</c:v>
                </c:pt>
              </c:strCache>
            </c:strRef>
          </c:cat>
          <c:val>
            <c:numRef>
              <c:f>Sheet1!$I$2:$I$9</c:f>
              <c:numCache>
                <c:formatCode>General</c:formatCode>
                <c:ptCount val="8"/>
                <c:pt idx="1">
                  <c:v>3.55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Private Label</c:v>
                </c:pt>
                <c:pt idx="1">
                  <c:v>Galbani</c:v>
                </c:pt>
                <c:pt idx="2">
                  <c:v>All Others</c:v>
                </c:pt>
                <c:pt idx="3">
                  <c:v>President</c:v>
                </c:pt>
                <c:pt idx="4">
                  <c:v>St Moret</c:v>
                </c:pt>
                <c:pt idx="5">
                  <c:v>Soignon</c:v>
                </c:pt>
                <c:pt idx="6">
                  <c:v>Caprice Des Dieux</c:v>
                </c:pt>
                <c:pt idx="7">
                  <c:v>Coeur De Lion</c:v>
                </c:pt>
              </c:strCache>
            </c:strRef>
          </c:cat>
          <c:val>
            <c:numRef>
              <c:f>Sheet1!$J$2:$J$9</c:f>
              <c:numCache>
                <c:formatCode>General</c:formatCode>
                <c:ptCount val="8"/>
                <c:pt idx="0">
                  <c:v>3.1678999999999999</c:v>
                </c:pt>
                <c:pt idx="4">
                  <c:v>4.493699999999999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5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Private Label</c:v>
                </c:pt>
                <c:pt idx="1">
                  <c:v>Galbani</c:v>
                </c:pt>
                <c:pt idx="2">
                  <c:v>All Others</c:v>
                </c:pt>
                <c:pt idx="3">
                  <c:v>President</c:v>
                </c:pt>
                <c:pt idx="4">
                  <c:v>St Moret</c:v>
                </c:pt>
                <c:pt idx="5">
                  <c:v>Soignon</c:v>
                </c:pt>
                <c:pt idx="6">
                  <c:v>Caprice Des Dieux</c:v>
                </c:pt>
                <c:pt idx="7">
                  <c:v>Coeur De Lion</c:v>
                </c:pt>
              </c:strCache>
            </c:strRef>
          </c:cat>
          <c:val>
            <c:numRef>
              <c:f>Sheet1!$K$2:$K$9</c:f>
              <c:numCache>
                <c:formatCode>General</c:formatCode>
                <c:ptCount val="8"/>
                <c:pt idx="0">
                  <c:v>3.7589999999999999</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Apericube</c:v>
                </c:pt>
                <c:pt idx="1">
                  <c:v>Aperivrais</c:v>
                </c:pt>
                <c:pt idx="2">
                  <c:v>Boursin</c:v>
                </c:pt>
                <c:pt idx="3">
                  <c:v>Private Label</c:v>
                </c:pt>
                <c:pt idx="4">
                  <c:v>St Moret</c:v>
                </c:pt>
                <c:pt idx="5">
                  <c:v>All Others</c:v>
                </c:pt>
              </c:strCache>
            </c:strRef>
          </c:cat>
          <c:val>
            <c:numRef>
              <c:f>Sheet1!$B$2:$B$7</c:f>
              <c:numCache>
                <c:formatCode>General</c:formatCode>
                <c:ptCount val="6"/>
                <c:pt idx="1">
                  <c:v>2.0144000000000002</c:v>
                </c:pt>
                <c:pt idx="2">
                  <c:v>3.5047999999999999</c:v>
                </c:pt>
                <c:pt idx="3">
                  <c:v>2.871</c:v>
                </c:pt>
                <c:pt idx="4">
                  <c:v>2.6423000000000001</c:v>
                </c:pt>
                <c:pt idx="5">
                  <c:v>5.378700000000000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Apericube</c:v>
                </c:pt>
                <c:pt idx="1">
                  <c:v>Aperivrais</c:v>
                </c:pt>
                <c:pt idx="2">
                  <c:v>Boursin</c:v>
                </c:pt>
                <c:pt idx="3">
                  <c:v>Private Label</c:v>
                </c:pt>
                <c:pt idx="4">
                  <c:v>St Moret</c:v>
                </c:pt>
                <c:pt idx="5">
                  <c:v>All Others</c:v>
                </c:pt>
              </c:strCache>
            </c:strRef>
          </c:cat>
          <c:val>
            <c:numRef>
              <c:f>Sheet1!$C$2:$C$7</c:f>
              <c:numCache>
                <c:formatCode>General</c:formatCode>
                <c:ptCount val="6"/>
                <c:pt idx="0">
                  <c:v>2.399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Apericube</c:v>
                </c:pt>
                <c:pt idx="1">
                  <c:v>Aperivrais</c:v>
                </c:pt>
                <c:pt idx="2">
                  <c:v>Boursin</c:v>
                </c:pt>
                <c:pt idx="3">
                  <c:v>Private Label</c:v>
                </c:pt>
                <c:pt idx="4">
                  <c:v>St Moret</c:v>
                </c:pt>
                <c:pt idx="5">
                  <c:v>All Others</c:v>
                </c:pt>
              </c:strCache>
            </c:strRef>
          </c:cat>
          <c:val>
            <c:numRef>
              <c:f>Sheet1!$D$2:$D$7</c:f>
              <c:numCache>
                <c:formatCode>General</c:formatCode>
                <c:ptCount val="6"/>
                <c:pt idx="0">
                  <c:v>4.2385999999999999</c:v>
                </c:pt>
              </c:numCache>
            </c:numRef>
          </c:val>
          <c:smooth val="0"/>
          <c:extLst>
            <c:ext xmlns:c16="http://schemas.microsoft.com/office/drawing/2014/chart" uri="{C3380CC4-5D6E-409C-BE32-E72D297353CC}">
              <c16:uniqueId val="{00000005-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Apericube</c:v>
                </c:pt>
                <c:pt idx="1">
                  <c:v>Aperivrais</c:v>
                </c:pt>
                <c:pt idx="2">
                  <c:v>Boursin</c:v>
                </c:pt>
                <c:pt idx="3">
                  <c:v>Private Label</c:v>
                </c:pt>
                <c:pt idx="4">
                  <c:v>St Moret</c:v>
                </c:pt>
                <c:pt idx="5">
                  <c:v>All Others</c:v>
                </c:pt>
                <c:pt idx="6">
                  <c:v>Leerdammer</c:v>
                </c:pt>
              </c:strCache>
            </c:strRef>
          </c:cat>
          <c:val>
            <c:numRef>
              <c:f>Sheet1!$B$2:$B$8</c:f>
              <c:numCache>
                <c:formatCode>General</c:formatCode>
                <c:ptCount val="7"/>
                <c:pt idx="1">
                  <c:v>2.1343000000000001</c:v>
                </c:pt>
                <c:pt idx="2">
                  <c:v>3.4523000000000001</c:v>
                </c:pt>
                <c:pt idx="3">
                  <c:v>3.1278999999999999</c:v>
                </c:pt>
                <c:pt idx="4">
                  <c:v>2.6861999999999999</c:v>
                </c:pt>
                <c:pt idx="5">
                  <c:v>5.699499999999999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Apericube</c:v>
                </c:pt>
                <c:pt idx="1">
                  <c:v>Aperivrais</c:v>
                </c:pt>
                <c:pt idx="2">
                  <c:v>Boursin</c:v>
                </c:pt>
                <c:pt idx="3">
                  <c:v>Private Label</c:v>
                </c:pt>
                <c:pt idx="4">
                  <c:v>St Moret</c:v>
                </c:pt>
                <c:pt idx="5">
                  <c:v>All Others</c:v>
                </c:pt>
                <c:pt idx="6">
                  <c:v>Leerdammer</c:v>
                </c:pt>
              </c:strCache>
            </c:strRef>
          </c:cat>
          <c:val>
            <c:numRef>
              <c:f>Sheet1!$C$2:$C$8</c:f>
              <c:numCache>
                <c:formatCode>General</c:formatCode>
                <c:ptCount val="7"/>
                <c:pt idx="0">
                  <c:v>2.4738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Apericube</c:v>
                </c:pt>
                <c:pt idx="1">
                  <c:v>Aperivrais</c:v>
                </c:pt>
                <c:pt idx="2">
                  <c:v>Boursin</c:v>
                </c:pt>
                <c:pt idx="3">
                  <c:v>Private Label</c:v>
                </c:pt>
                <c:pt idx="4">
                  <c:v>St Moret</c:v>
                </c:pt>
                <c:pt idx="5">
                  <c:v>All Others</c:v>
                </c:pt>
                <c:pt idx="6">
                  <c:v>Leerdammer</c:v>
                </c:pt>
              </c:strCache>
            </c:strRef>
          </c:cat>
          <c:val>
            <c:numRef>
              <c:f>Sheet1!$D$2:$D$8</c:f>
              <c:numCache>
                <c:formatCode>General</c:formatCode>
                <c:ptCount val="7"/>
                <c:pt idx="0">
                  <c:v>4.477000000000000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45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Apericube</c:v>
                </c:pt>
                <c:pt idx="1">
                  <c:v>Aperivrais</c:v>
                </c:pt>
                <c:pt idx="2">
                  <c:v>Boursin</c:v>
                </c:pt>
                <c:pt idx="3">
                  <c:v>Private Label</c:v>
                </c:pt>
                <c:pt idx="4">
                  <c:v>St Moret</c:v>
                </c:pt>
                <c:pt idx="5">
                  <c:v>All Others</c:v>
                </c:pt>
                <c:pt idx="6">
                  <c:v>Leerdammer</c:v>
                </c:pt>
              </c:strCache>
            </c:strRef>
          </c:cat>
          <c:val>
            <c:numRef>
              <c:f>Sheet1!$E$2:$E$8</c:f>
              <c:numCache>
                <c:formatCode>General</c:formatCode>
                <c:ptCount val="7"/>
                <c:pt idx="6">
                  <c:v>1.8669</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Apericube</c:v>
                </c:pt>
                <c:pt idx="1">
                  <c:v>Aperivrais</c:v>
                </c:pt>
                <c:pt idx="2">
                  <c:v>Boursin</c:v>
                </c:pt>
                <c:pt idx="3">
                  <c:v>St Moret</c:v>
                </c:pt>
                <c:pt idx="4">
                  <c:v>Private Label</c:v>
                </c:pt>
              </c:strCache>
            </c:strRef>
          </c:cat>
          <c:val>
            <c:numRef>
              <c:f>Sheet1!$B$2:$B$6</c:f>
              <c:numCache>
                <c:formatCode>General</c:formatCode>
                <c:ptCount val="5"/>
                <c:pt idx="1">
                  <c:v>2.1753</c:v>
                </c:pt>
                <c:pt idx="2">
                  <c:v>3.5583</c:v>
                </c:pt>
                <c:pt idx="3">
                  <c:v>2.6888000000000001</c:v>
                </c:pt>
                <c:pt idx="4">
                  <c:v>2.8294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Apericube</c:v>
                </c:pt>
                <c:pt idx="1">
                  <c:v>Aperivrais</c:v>
                </c:pt>
                <c:pt idx="2">
                  <c:v>Boursin</c:v>
                </c:pt>
                <c:pt idx="3">
                  <c:v>St Moret</c:v>
                </c:pt>
                <c:pt idx="4">
                  <c:v>Private Label</c:v>
                </c:pt>
              </c:strCache>
            </c:strRef>
          </c:cat>
          <c:val>
            <c:numRef>
              <c:f>Sheet1!$C$2:$C$6</c:f>
              <c:numCache>
                <c:formatCode>General</c:formatCode>
                <c:ptCount val="5"/>
                <c:pt idx="0">
                  <c:v>2.366299999999999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Apericube</c:v>
                </c:pt>
                <c:pt idx="1">
                  <c:v>Aperivrais</c:v>
                </c:pt>
                <c:pt idx="2">
                  <c:v>Boursin</c:v>
                </c:pt>
                <c:pt idx="3">
                  <c:v>St Moret</c:v>
                </c:pt>
                <c:pt idx="4">
                  <c:v>Private Label</c:v>
                </c:pt>
              </c:strCache>
            </c:strRef>
          </c:cat>
          <c:val>
            <c:numRef>
              <c:f>Sheet1!$D$2:$D$6</c:f>
              <c:numCache>
                <c:formatCode>General</c:formatCode>
                <c:ptCount val="5"/>
                <c:pt idx="4">
                  <c:v>2.15229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Apericube</c:v>
                </c:pt>
                <c:pt idx="1">
                  <c:v>Aperivrais</c:v>
                </c:pt>
                <c:pt idx="2">
                  <c:v>Boursin</c:v>
                </c:pt>
                <c:pt idx="3">
                  <c:v>St Moret</c:v>
                </c:pt>
                <c:pt idx="4">
                  <c:v>Private Label</c:v>
                </c:pt>
              </c:strCache>
            </c:strRef>
          </c:cat>
          <c:val>
            <c:numRef>
              <c:f>Sheet1!$E$2:$E$6</c:f>
              <c:numCache>
                <c:formatCode>General</c:formatCode>
                <c:ptCount val="5"/>
                <c:pt idx="0">
                  <c:v>4.4103000000000003</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32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Mini Babybel</c:v>
                </c:pt>
                <c:pt idx="1">
                  <c:v>La Vache Qui Rit</c:v>
                </c:pt>
                <c:pt idx="2">
                  <c:v>Kiri</c:v>
                </c:pt>
                <c:pt idx="3">
                  <c:v>Private Label</c:v>
                </c:pt>
                <c:pt idx="4">
                  <c:v>Ficello</c:v>
                </c:pt>
              </c:strCache>
            </c:strRef>
          </c:cat>
          <c:val>
            <c:numRef>
              <c:f>Sheet1!$B$2:$B$6</c:f>
              <c:numCache>
                <c:formatCode>General</c:formatCode>
                <c:ptCount val="5"/>
                <c:pt idx="0">
                  <c:v>2.459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44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C$2:$C$6</c:f>
              <c:numCache>
                <c:formatCode>General</c:formatCode>
                <c:ptCount val="5"/>
                <c:pt idx="2">
                  <c:v>2.2964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8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D$2:$D$6</c:f>
              <c:numCache>
                <c:formatCode>General</c:formatCode>
                <c:ptCount val="5"/>
                <c:pt idx="4">
                  <c:v>3.493399999999999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75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E$2:$E$6</c:f>
              <c:numCache>
                <c:formatCode>General</c:formatCode>
                <c:ptCount val="5"/>
                <c:pt idx="1">
                  <c:v>2.3913000000000002</c:v>
                </c:pt>
                <c:pt idx="2">
                  <c:v>2.3003999999999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F$2:$F$6</c:f>
              <c:numCache>
                <c:formatCode>General</c:formatCode>
                <c:ptCount val="5"/>
                <c:pt idx="0">
                  <c:v>3.306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92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Mini Babybel</c:v>
                </c:pt>
                <c:pt idx="1">
                  <c:v>La Vache Qui Rit</c:v>
                </c:pt>
                <c:pt idx="2">
                  <c:v>Kiri</c:v>
                </c:pt>
                <c:pt idx="3">
                  <c:v>Private Label</c:v>
                </c:pt>
                <c:pt idx="4">
                  <c:v>Ficello</c:v>
                </c:pt>
              </c:strCache>
            </c:strRef>
          </c:cat>
          <c:val>
            <c:numRef>
              <c:f>Sheet1!$G$2:$G$6</c:f>
              <c:numCache>
                <c:formatCode>General</c:formatCode>
                <c:ptCount val="5"/>
                <c:pt idx="1">
                  <c:v>2.6150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16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Mini Babybel</c:v>
                </c:pt>
                <c:pt idx="1">
                  <c:v>La Vache Qui Rit</c:v>
                </c:pt>
                <c:pt idx="2">
                  <c:v>Kiri</c:v>
                </c:pt>
                <c:pt idx="3">
                  <c:v>Private Label</c:v>
                </c:pt>
                <c:pt idx="4">
                  <c:v>Ficello</c:v>
                </c:pt>
              </c:strCache>
            </c:strRef>
          </c:cat>
          <c:val>
            <c:numRef>
              <c:f>Sheet1!$H$2:$H$6</c:f>
              <c:numCache>
                <c:formatCode>General</c:formatCode>
                <c:ptCount val="5"/>
                <c:pt idx="2">
                  <c:v>2.8454000000000002</c:v>
                </c:pt>
                <c:pt idx="3">
                  <c:v>1.86559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2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I$2:$I$6</c:f>
              <c:numCache>
                <c:formatCode>General</c:formatCode>
                <c:ptCount val="5"/>
                <c:pt idx="0">
                  <c:v>4.278299999999999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4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Mini Babybel</c:v>
                </c:pt>
                <c:pt idx="1">
                  <c:v>La Vache Qui Rit</c:v>
                </c:pt>
                <c:pt idx="2">
                  <c:v>Kiri</c:v>
                </c:pt>
                <c:pt idx="3">
                  <c:v>Private Label</c:v>
                </c:pt>
                <c:pt idx="4">
                  <c:v>Ficello</c:v>
                </c:pt>
              </c:strCache>
            </c:strRef>
          </c:cat>
          <c:val>
            <c:numRef>
              <c:f>Sheet1!$J$2:$J$6</c:f>
              <c:numCache>
                <c:formatCode>General</c:formatCode>
                <c:ptCount val="5"/>
                <c:pt idx="3">
                  <c:v>2.017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56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K$2:$K$6</c:f>
              <c:numCache>
                <c:formatCode>General</c:formatCode>
                <c:ptCount val="5"/>
                <c:pt idx="1">
                  <c:v>2.872799999999999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64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L$2:$L$6</c:f>
              <c:numCache>
                <c:formatCode>General</c:formatCode>
                <c:ptCount val="5"/>
                <c:pt idx="0">
                  <c:v>4.219000000000000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8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6</c:f>
              <c:strCache>
                <c:ptCount val="5"/>
                <c:pt idx="0">
                  <c:v>Mini Babybel</c:v>
                </c:pt>
                <c:pt idx="1">
                  <c:v>La Vache Qui Rit</c:v>
                </c:pt>
                <c:pt idx="2">
                  <c:v>Kiri</c:v>
                </c:pt>
                <c:pt idx="3">
                  <c:v>Private Label</c:v>
                </c:pt>
                <c:pt idx="4">
                  <c:v>Ficello</c:v>
                </c:pt>
              </c:strCache>
            </c:strRef>
          </c:cat>
          <c:val>
            <c:numRef>
              <c:f>Sheet1!$M$2:$M$6</c:f>
              <c:numCache>
                <c:formatCode>General</c:formatCode>
                <c:ptCount val="5"/>
                <c:pt idx="1">
                  <c:v>3.6049000000000002</c:v>
                </c:pt>
                <c:pt idx="2">
                  <c:v>3.5897999999999999</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52GR</c:v>
                </c:pt>
              </c:strCache>
            </c:strRef>
          </c:tx>
          <c:spPr>
            <a:ln w="19050">
              <a:noFill/>
            </a:ln>
          </c:spPr>
          <c:marker>
            <c:symbol val="dash"/>
            <c:size val="20"/>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N$2:$N$6</c:f>
              <c:numCache>
                <c:formatCode>General</c:formatCode>
                <c:ptCount val="5"/>
                <c:pt idx="0">
                  <c:v>5.8667999999999996</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O$2:$O$6</c:f>
              <c:numCache>
                <c:formatCode>General</c:formatCode>
                <c:ptCount val="5"/>
                <c:pt idx="1">
                  <c:v>3.7115999999999998</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P$2:$P$6</c:f>
              <c:numCache>
                <c:formatCode>General</c:formatCode>
                <c:ptCount val="5"/>
                <c:pt idx="3">
                  <c:v>2.5575000000000001</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Q$2:$Q$6</c:f>
              <c:numCache>
                <c:formatCode>General</c:formatCode>
                <c:ptCount val="5"/>
                <c:pt idx="2">
                  <c:v>4.7747999999999999</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4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R$2:$R$6</c:f>
              <c:numCache>
                <c:formatCode>General</c:formatCode>
                <c:ptCount val="5"/>
                <c:pt idx="0">
                  <c:v>7.5186000000000002</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S$2:$S$6</c:f>
              <c:numCache>
                <c:formatCode>General</c:formatCode>
                <c:ptCount val="5"/>
                <c:pt idx="1">
                  <c:v>4.4577999999999998</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6</c:f>
              <c:strCache>
                <c:ptCount val="5"/>
                <c:pt idx="0">
                  <c:v>Mini Babybel</c:v>
                </c:pt>
                <c:pt idx="1">
                  <c:v>La Vache Qui Rit</c:v>
                </c:pt>
                <c:pt idx="2">
                  <c:v>Kiri</c:v>
                </c:pt>
                <c:pt idx="3">
                  <c:v>Private Label</c:v>
                </c:pt>
                <c:pt idx="4">
                  <c:v>Ficello</c:v>
                </c:pt>
              </c:strCache>
            </c:strRef>
          </c:cat>
          <c:val>
            <c:numRef>
              <c:f>Sheet1!$T$2:$T$6</c:f>
              <c:numCache>
                <c:formatCode>General</c:formatCode>
                <c:ptCount val="5"/>
                <c:pt idx="4">
                  <c:v>2.1248</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8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B$2:$B$7</c:f>
              <c:numCache>
                <c:formatCode>General</c:formatCode>
                <c:ptCount val="6"/>
                <c:pt idx="0">
                  <c:v>2.0076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2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C$2:$C$7</c:f>
              <c:numCache>
                <c:formatCode>General</c:formatCode>
                <c:ptCount val="6"/>
                <c:pt idx="1">
                  <c:v>2.6032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D$2:$D$7</c:f>
              <c:numCache>
                <c:formatCode>General</c:formatCode>
                <c:ptCount val="6"/>
                <c:pt idx="3">
                  <c:v>1.2051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4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E$2:$E$7</c:f>
              <c:numCache>
                <c:formatCode>General</c:formatCode>
                <c:ptCount val="6"/>
                <c:pt idx="2">
                  <c:v>2.30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F$2:$F$7</c:f>
              <c:numCache>
                <c:formatCode>General</c:formatCode>
                <c:ptCount val="6"/>
                <c:pt idx="5">
                  <c:v>2.955299999999999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68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G$2:$G$7</c:f>
              <c:numCache>
                <c:formatCode>General</c:formatCode>
                <c:ptCount val="6"/>
                <c:pt idx="4">
                  <c:v>3.478699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75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H$2:$H$7</c:f>
              <c:numCache>
                <c:formatCode>General</c:formatCode>
                <c:ptCount val="6"/>
                <c:pt idx="0">
                  <c:v>2.1873</c:v>
                </c:pt>
                <c:pt idx="2">
                  <c:v>2.23709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92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I$2:$I$7</c:f>
              <c:numCache>
                <c:formatCode>General</c:formatCode>
                <c:ptCount val="6"/>
                <c:pt idx="0">
                  <c:v>2.778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16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J$2:$J$7</c:f>
              <c:numCache>
                <c:formatCode>General</c:formatCode>
                <c:ptCount val="6"/>
                <c:pt idx="2">
                  <c:v>2.999699999999999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K$2:$K$7</c:f>
              <c:numCache>
                <c:formatCode>General</c:formatCode>
                <c:ptCount val="6"/>
                <c:pt idx="3">
                  <c:v>2.120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64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L$2:$L$7</c:f>
              <c:numCache>
                <c:formatCode>General</c:formatCode>
                <c:ptCount val="6"/>
                <c:pt idx="1">
                  <c:v>4.1361999999999997</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8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M$2:$M$7</c:f>
              <c:numCache>
                <c:formatCode>General</c:formatCode>
                <c:ptCount val="6"/>
                <c:pt idx="2">
                  <c:v>3.6229</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52GR</c:v>
                </c:pt>
              </c:strCache>
            </c:strRef>
          </c:tx>
          <c:spPr>
            <a:ln w="19050">
              <a:noFill/>
            </a:ln>
          </c:spPr>
          <c:marker>
            <c:symbol val="dash"/>
            <c:size val="20"/>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N$2:$N$7</c:f>
              <c:numCache>
                <c:formatCode>General</c:formatCode>
                <c:ptCount val="6"/>
                <c:pt idx="1">
                  <c:v>5.8654000000000002</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O$2:$O$7</c:f>
              <c:numCache>
                <c:formatCode>General</c:formatCode>
                <c:ptCount val="6"/>
                <c:pt idx="0">
                  <c:v>3.544900000000000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P$2:$P$7</c:f>
              <c:numCache>
                <c:formatCode>General</c:formatCode>
                <c:ptCount val="6"/>
                <c:pt idx="3">
                  <c:v>2.762300000000000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Q$2:$Q$7</c:f>
              <c:numCache>
                <c:formatCode>General</c:formatCode>
                <c:ptCount val="6"/>
                <c:pt idx="2">
                  <c:v>4.3026</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4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R$2:$R$7</c:f>
              <c:numCache>
                <c:formatCode>General</c:formatCode>
                <c:ptCount val="6"/>
                <c:pt idx="1">
                  <c:v>6.9686000000000003</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S$2:$S$7</c:f>
              <c:numCache>
                <c:formatCode>General</c:formatCode>
                <c:ptCount val="6"/>
                <c:pt idx="0">
                  <c:v>4.2591000000000001</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533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T$2:$T$7</c:f>
              <c:numCache>
                <c:formatCode>General</c:formatCode>
                <c:ptCount val="6"/>
                <c:pt idx="3">
                  <c:v>3.5525000000000002</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U$2:$U$7</c:f>
              <c:numCache>
                <c:formatCode>General</c:formatCode>
                <c:ptCount val="6"/>
                <c:pt idx="4">
                  <c:v>2.2492000000000001</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17163AE-FEA0-4E46-A8F2-770C95A9C7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391B895-43D6-4633-A313-79176204A3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A32E6A2-DD6B-4C69-B06A-F2B581EFA9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6A4ABC1-18FA-45A9-91AB-3779BFA3E2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E37AB19-FAB9-432F-933B-DE98C94B63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B39448B-ACAC-429B-B527-CC69653278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C77CA83-79DA-4DEE-A31D-368B5449F3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0CDF3A3-F140-4824-BA7B-20BB4A7AEA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0186000000000002</c:v>
                </c:pt>
                <c:pt idx="1">
                  <c:v>2.4689000000000001</c:v>
                </c:pt>
                <c:pt idx="2">
                  <c:v>2.3700999999999999</c:v>
                </c:pt>
                <c:pt idx="3">
                  <c:v>2.9603000000000002</c:v>
                </c:pt>
                <c:pt idx="4">
                  <c:v>2.7917999999999998</c:v>
                </c:pt>
                <c:pt idx="5">
                  <c:v>3.3898000000000001</c:v>
                </c:pt>
                <c:pt idx="6">
                  <c:v>2.5394000000000001</c:v>
                </c:pt>
                <c:pt idx="7">
                  <c:v>3.9350000000000001</c:v>
                </c:pt>
                <c:pt idx="8">
                  <c:v>3.4443000000000001</c:v>
                </c:pt>
              </c:numCache>
            </c:numRef>
          </c:xVal>
          <c:yVal>
            <c:numRef>
              <c:f>Sheet1!$B$2:$B$10</c:f>
              <c:numCache>
                <c:formatCode>General</c:formatCode>
                <c:ptCount val="9"/>
                <c:pt idx="0">
                  <c:v>0.83199999999999996</c:v>
                </c:pt>
                <c:pt idx="1">
                  <c:v>1.141</c:v>
                </c:pt>
                <c:pt idx="2">
                  <c:v>0.79800000000000004</c:v>
                </c:pt>
                <c:pt idx="3">
                  <c:v>1.119</c:v>
                </c:pt>
                <c:pt idx="4">
                  <c:v>1.022</c:v>
                </c:pt>
                <c:pt idx="5">
                  <c:v>1.1619999999999999</c:v>
                </c:pt>
                <c:pt idx="6">
                  <c:v>0.73099999999999998</c:v>
                </c:pt>
                <c:pt idx="7">
                  <c:v>1.5029999999999999</c:v>
                </c:pt>
                <c:pt idx="8">
                  <c:v>0.95099999999999996</c:v>
                </c:pt>
              </c:numCache>
            </c:numRef>
          </c:yVal>
          <c:bubbleSize>
            <c:numRef>
              <c:f>Sheet1!$C$2:$C$10</c:f>
              <c:numCache>
                <c:formatCode>General</c:formatCode>
                <c:ptCount val="9"/>
                <c:pt idx="0">
                  <c:v>59702866</c:v>
                </c:pt>
                <c:pt idx="1">
                  <c:v>11602323</c:v>
                </c:pt>
                <c:pt idx="2">
                  <c:v>9875140</c:v>
                </c:pt>
                <c:pt idx="3">
                  <c:v>9429711</c:v>
                </c:pt>
                <c:pt idx="4">
                  <c:v>8261704</c:v>
                </c:pt>
                <c:pt idx="5">
                  <c:v>7436715</c:v>
                </c:pt>
                <c:pt idx="6">
                  <c:v>6495624</c:v>
                </c:pt>
                <c:pt idx="7">
                  <c:v>5772129</c:v>
                </c:pt>
                <c:pt idx="8">
                  <c:v>5658598</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President</c:v>
                  </c:pt>
                  <c:pt idx="3">
                    <c:v>St Moret</c:v>
                  </c:pt>
                  <c:pt idx="4">
                    <c:v>Soignon</c:v>
                  </c:pt>
                  <c:pt idx="5">
                    <c:v>Caprice Des Dieux</c:v>
                  </c:pt>
                  <c:pt idx="6">
                    <c:v>Coeur De Lion</c:v>
                  </c:pt>
                  <c:pt idx="7">
                    <c:v>Apericube</c:v>
                  </c:pt>
                  <c:pt idx="8">
                    <c:v>La Vache Qui Ri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02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32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B$2:$B$7</c:f>
              <c:numCache>
                <c:formatCode>General</c:formatCode>
                <c:ptCount val="6"/>
                <c:pt idx="1">
                  <c:v>2.350200000000000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44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C$2:$C$7</c:f>
              <c:numCache>
                <c:formatCode>General</c:formatCode>
                <c:ptCount val="6"/>
                <c:pt idx="2">
                  <c:v>2.2570999999999999</c:v>
                </c:pt>
                <c:pt idx="3">
                  <c:v>1.864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8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D$2:$D$7</c:f>
              <c:numCache>
                <c:formatCode>General</c:formatCode>
                <c:ptCount val="6"/>
                <c:pt idx="4">
                  <c:v>3.5316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75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E$2:$E$7</c:f>
              <c:numCache>
                <c:formatCode>General</c:formatCode>
                <c:ptCount val="6"/>
                <c:pt idx="0">
                  <c:v>2.5316999999999998</c:v>
                </c:pt>
                <c:pt idx="2">
                  <c:v>2.363399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F$2:$F$7</c:f>
              <c:numCache>
                <c:formatCode>General</c:formatCode>
                <c:ptCount val="6"/>
                <c:pt idx="1">
                  <c:v>4.108900000000000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92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G$2:$G$7</c:f>
              <c:numCache>
                <c:formatCode>General</c:formatCode>
                <c:ptCount val="6"/>
                <c:pt idx="0">
                  <c:v>2.50369999999999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H$2:$H$7</c:f>
              <c:numCache>
                <c:formatCode>General</c:formatCode>
                <c:ptCount val="6"/>
                <c:pt idx="3">
                  <c:v>1.70839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16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I$2:$I$7</c:f>
              <c:numCache>
                <c:formatCode>General</c:formatCode>
                <c:ptCount val="6"/>
                <c:pt idx="2">
                  <c:v>2.8744000000000001</c:v>
                </c:pt>
                <c:pt idx="3">
                  <c:v>1.868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4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J$2:$J$7</c:f>
              <c:numCache>
                <c:formatCode>General</c:formatCode>
                <c:ptCount val="6"/>
                <c:pt idx="5">
                  <c:v>3.653900000000000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64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K$2:$K$7</c:f>
              <c:numCache>
                <c:formatCode>General</c:formatCode>
                <c:ptCount val="6"/>
                <c:pt idx="1">
                  <c:v>4.360100000000000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67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L$2:$L$7</c:f>
              <c:numCache>
                <c:formatCode>General</c:formatCode>
                <c:ptCount val="6"/>
                <c:pt idx="0">
                  <c:v>3.291599999999999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8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M$2:$M$7</c:f>
              <c:numCache>
                <c:formatCode>General</c:formatCode>
                <c:ptCount val="6"/>
                <c:pt idx="0">
                  <c:v>3.9445000000000001</c:v>
                </c:pt>
                <c:pt idx="2">
                  <c:v>3.6638000000000002</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84GR</c:v>
                </c:pt>
              </c:strCache>
            </c:strRef>
          </c:tx>
          <c:spPr>
            <a:ln w="19050">
              <a:noFill/>
            </a:ln>
          </c:spPr>
          <c:marker>
            <c:symbol val="dash"/>
            <c:size val="20"/>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N$2:$N$7</c:f>
              <c:numCache>
                <c:formatCode>General</c:formatCode>
                <c:ptCount val="6"/>
                <c:pt idx="0">
                  <c:v>4.0000999999999998</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O$2:$O$7</c:f>
              <c:numCache>
                <c:formatCode>General</c:formatCode>
                <c:ptCount val="6"/>
                <c:pt idx="3">
                  <c:v>2.6778</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P$2:$P$7</c:f>
              <c:numCache>
                <c:formatCode>General</c:formatCode>
                <c:ptCount val="6"/>
                <c:pt idx="2">
                  <c:v>4.9837999999999996</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Q$2:$Q$7</c:f>
              <c:numCache>
                <c:formatCode>General</c:formatCode>
                <c:ptCount val="6"/>
                <c:pt idx="0">
                  <c:v>4.9005000000000001</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Mini Babybel</c:v>
                </c:pt>
                <c:pt idx="2">
                  <c:v>Kiri</c:v>
                </c:pt>
                <c:pt idx="3">
                  <c:v>Private Label</c:v>
                </c:pt>
                <c:pt idx="4">
                  <c:v>Ficello</c:v>
                </c:pt>
                <c:pt idx="5">
                  <c:v>P'Tit Louis</c:v>
                </c:pt>
              </c:strCache>
            </c:strRef>
          </c:cat>
          <c:val>
            <c:numRef>
              <c:f>Sheet1!$R$2:$R$7</c:f>
              <c:numCache>
                <c:formatCode>General</c:formatCode>
                <c:ptCount val="6"/>
                <c:pt idx="4">
                  <c:v>2.155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B$2:$B$9</c:f>
              <c:numCache>
                <c:formatCode>General</c:formatCode>
                <c:ptCount val="8"/>
                <c:pt idx="7">
                  <c:v>1.633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C$2:$C$9</c:f>
              <c:numCache>
                <c:formatCode>General</c:formatCode>
                <c:ptCount val="8"/>
                <c:pt idx="0">
                  <c:v>2.3248000000000002</c:v>
                </c:pt>
                <c:pt idx="1">
                  <c:v>1.2050000000000001</c:v>
                </c:pt>
                <c:pt idx="2">
                  <c:v>1.8984000000000001</c:v>
                </c:pt>
                <c:pt idx="3">
                  <c:v>2.0310000000000001</c:v>
                </c:pt>
                <c:pt idx="4">
                  <c:v>2.2145999999999999</c:v>
                </c:pt>
                <c:pt idx="6">
                  <c:v>2.0575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D$2:$D$9</c:f>
              <c:numCache>
                <c:formatCode>General</c:formatCode>
                <c:ptCount val="8"/>
                <c:pt idx="3">
                  <c:v>2.0274000000000001</c:v>
                </c:pt>
                <c:pt idx="4">
                  <c:v>2.48660000000000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E$2:$E$9</c:f>
              <c:numCache>
                <c:formatCode>General</c:formatCode>
                <c:ptCount val="8"/>
                <c:pt idx="0">
                  <c:v>2.2820999999999998</c:v>
                </c:pt>
                <c:pt idx="2">
                  <c:v>2.129700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F$2:$F$9</c:f>
              <c:numCache>
                <c:formatCode>General</c:formatCode>
                <c:ptCount val="8"/>
                <c:pt idx="5">
                  <c:v>2.411099999999999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G$2:$G$9</c:f>
              <c:numCache>
                <c:formatCode>General</c:formatCode>
                <c:ptCount val="8"/>
                <c:pt idx="1">
                  <c:v>2.1366000000000001</c:v>
                </c:pt>
                <c:pt idx="3">
                  <c:v>2.7221000000000002</c:v>
                </c:pt>
                <c:pt idx="4">
                  <c:v>3.3595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75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H$2:$H$9</c:f>
              <c:numCache>
                <c:formatCode>General</c:formatCode>
                <c:ptCount val="8"/>
                <c:pt idx="2">
                  <c:v>3.05100000000000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I$2:$I$9</c:f>
              <c:numCache>
                <c:formatCode>General</c:formatCode>
                <c:ptCount val="8"/>
                <c:pt idx="0">
                  <c:v>3.4746000000000001</c:v>
                </c:pt>
                <c:pt idx="1">
                  <c:v>1.8822000000000001</c:v>
                </c:pt>
                <c:pt idx="6">
                  <c:v>3.210999999999999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2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J$2:$J$9</c:f>
              <c:numCache>
                <c:formatCode>General</c:formatCode>
                <c:ptCount val="8"/>
                <c:pt idx="2">
                  <c:v>3.309200000000000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K$2:$K$9</c:f>
              <c:numCache>
                <c:formatCode>General</c:formatCode>
                <c:ptCount val="8"/>
                <c:pt idx="0">
                  <c:v>4.535599999999999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6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L$2:$L$9</c:f>
              <c:numCache>
                <c:formatCode>General</c:formatCode>
                <c:ptCount val="8"/>
                <c:pt idx="2">
                  <c:v>4.574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0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rivate Label</c:v>
                </c:pt>
                <c:pt idx="2">
                  <c:v>Paysan Breton</c:v>
                </c:pt>
                <c:pt idx="3">
                  <c:v>Tartare</c:v>
                </c:pt>
                <c:pt idx="4">
                  <c:v>Boursin</c:v>
                </c:pt>
                <c:pt idx="5">
                  <c:v>Carre Frais</c:v>
                </c:pt>
                <c:pt idx="6">
                  <c:v>Philadelphia</c:v>
                </c:pt>
                <c:pt idx="7">
                  <c:v>Rondele</c:v>
                </c:pt>
              </c:strCache>
            </c:strRef>
          </c:cat>
          <c:val>
            <c:numRef>
              <c:f>Sheet1!$M$2:$M$9</c:f>
              <c:numCache>
                <c:formatCode>General</c:formatCode>
                <c:ptCount val="8"/>
                <c:pt idx="0">
                  <c:v>5.2640000000000002</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B$2:$B$9</c:f>
              <c:numCache>
                <c:formatCode>General</c:formatCode>
                <c:ptCount val="8"/>
                <c:pt idx="7">
                  <c:v>1.7345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C$2:$C$9</c:f>
              <c:numCache>
                <c:formatCode>General</c:formatCode>
                <c:ptCount val="8"/>
                <c:pt idx="0">
                  <c:v>2.4662000000000002</c:v>
                </c:pt>
                <c:pt idx="1">
                  <c:v>1.9454</c:v>
                </c:pt>
                <c:pt idx="2">
                  <c:v>1.4278</c:v>
                </c:pt>
                <c:pt idx="3">
                  <c:v>2.1442000000000001</c:v>
                </c:pt>
                <c:pt idx="4">
                  <c:v>2.3616000000000001</c:v>
                </c:pt>
                <c:pt idx="6">
                  <c:v>2.200899999999999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D$2:$D$9</c:f>
              <c:numCache>
                <c:formatCode>General</c:formatCode>
                <c:ptCount val="8"/>
                <c:pt idx="3">
                  <c:v>2.1482999999999999</c:v>
                </c:pt>
                <c:pt idx="4">
                  <c:v>2.59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E$2:$E$9</c:f>
              <c:numCache>
                <c:formatCode>General</c:formatCode>
                <c:ptCount val="8"/>
                <c:pt idx="0">
                  <c:v>2.4904999999999999</c:v>
                </c:pt>
                <c:pt idx="1">
                  <c:v>2.190399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F$2:$F$9</c:f>
              <c:numCache>
                <c:formatCode>General</c:formatCode>
                <c:ptCount val="8"/>
                <c:pt idx="5">
                  <c:v>2.418699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25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G$2:$G$9</c:f>
              <c:numCache>
                <c:formatCode>General</c:formatCode>
                <c:ptCount val="8"/>
                <c:pt idx="0">
                  <c:v>3.21839999999999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H$2:$H$9</c:f>
              <c:numCache>
                <c:formatCode>General</c:formatCode>
                <c:ptCount val="8"/>
                <c:pt idx="2">
                  <c:v>2.1453000000000002</c:v>
                </c:pt>
                <c:pt idx="3">
                  <c:v>2.7766999999999999</c:v>
                </c:pt>
                <c:pt idx="4">
                  <c:v>3.423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I$2:$I$9</c:f>
              <c:numCache>
                <c:formatCode>General</c:formatCode>
                <c:ptCount val="8"/>
                <c:pt idx="0">
                  <c:v>3.5642</c:v>
                </c:pt>
                <c:pt idx="2">
                  <c:v>1.986</c:v>
                </c:pt>
                <c:pt idx="6">
                  <c:v>3.02760000000000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2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J$2:$J$9</c:f>
              <c:numCache>
                <c:formatCode>General</c:formatCode>
                <c:ptCount val="8"/>
                <c:pt idx="1">
                  <c:v>3.176099999999999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K$2:$K$9</c:f>
              <c:numCache>
                <c:formatCode>General</c:formatCode>
                <c:ptCount val="8"/>
                <c:pt idx="0">
                  <c:v>4.5890000000000004</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6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L$2:$L$9</c:f>
              <c:numCache>
                <c:formatCode>General</c:formatCode>
                <c:ptCount val="8"/>
                <c:pt idx="1">
                  <c:v>4.4885000000000002</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0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M$2:$M$9</c:f>
              <c:numCache>
                <c:formatCode>General</c:formatCode>
                <c:ptCount val="8"/>
                <c:pt idx="0">
                  <c:v>4.9659000000000004</c:v>
                </c:pt>
                <c:pt idx="6">
                  <c:v>5.0671999999999997</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96GR</c:v>
                </c:pt>
              </c:strCache>
            </c:strRef>
          </c:tx>
          <c:spPr>
            <a:ln w="19050">
              <a:noFill/>
            </a:ln>
          </c:spPr>
          <c:marker>
            <c:symbol val="dash"/>
            <c:size val="20"/>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St Moret</c:v>
                </c:pt>
                <c:pt idx="1">
                  <c:v>Paysan Breton</c:v>
                </c:pt>
                <c:pt idx="2">
                  <c:v>Private Label</c:v>
                </c:pt>
                <c:pt idx="3">
                  <c:v>Tartare</c:v>
                </c:pt>
                <c:pt idx="4">
                  <c:v>Boursin</c:v>
                </c:pt>
                <c:pt idx="5">
                  <c:v>Carre Frais</c:v>
                </c:pt>
                <c:pt idx="6">
                  <c:v>Philadelphia</c:v>
                </c:pt>
                <c:pt idx="7">
                  <c:v>Rondele</c:v>
                </c:pt>
              </c:strCache>
            </c:strRef>
          </c:cat>
          <c:val>
            <c:numRef>
              <c:f>Sheet1!$N$2:$N$9</c:f>
              <c:numCache>
                <c:formatCode>General</c:formatCode>
                <c:ptCount val="8"/>
                <c:pt idx="3">
                  <c:v>2.0813999999999999</c:v>
                </c:pt>
              </c:numCache>
            </c:numRef>
          </c:val>
          <c:smooth val="0"/>
          <c:extLst>
            <c:ext xmlns:c16="http://schemas.microsoft.com/office/drawing/2014/chart" uri="{C3380CC4-5D6E-409C-BE32-E72D297353CC}">
              <c16:uniqueId val="{0000001B-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B$2:$B$8</c:f>
              <c:numCache>
                <c:formatCode>General</c:formatCode>
                <c:ptCount val="7"/>
                <c:pt idx="3">
                  <c:v>2.4085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C$2:$C$8</c:f>
              <c:numCache>
                <c:formatCode>General</c:formatCode>
                <c:ptCount val="7"/>
                <c:pt idx="0">
                  <c:v>2.3075999999999999</c:v>
                </c:pt>
                <c:pt idx="1">
                  <c:v>1.2365999999999999</c:v>
                </c:pt>
                <c:pt idx="2">
                  <c:v>1.8753</c:v>
                </c:pt>
                <c:pt idx="3">
                  <c:v>2.3128000000000002</c:v>
                </c:pt>
                <c:pt idx="4">
                  <c:v>2.1031</c:v>
                </c:pt>
                <c:pt idx="6">
                  <c:v>1.860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D$2:$D$8</c:f>
              <c:numCache>
                <c:formatCode>General</c:formatCode>
                <c:ptCount val="7"/>
                <c:pt idx="3">
                  <c:v>2.5045999999999999</c:v>
                </c:pt>
                <c:pt idx="4">
                  <c:v>2.0388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E$2:$E$8</c:f>
              <c:numCache>
                <c:formatCode>General</c:formatCode>
                <c:ptCount val="7"/>
                <c:pt idx="0">
                  <c:v>2.2938000000000001</c:v>
                </c:pt>
                <c:pt idx="2">
                  <c:v>2.086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F$2:$F$8</c:f>
              <c:numCache>
                <c:formatCode>General</c:formatCode>
                <c:ptCount val="7"/>
                <c:pt idx="5">
                  <c:v>2.440500000000000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G$2:$G$8</c:f>
              <c:numCache>
                <c:formatCode>General</c:formatCode>
                <c:ptCount val="7"/>
                <c:pt idx="1">
                  <c:v>2.1135000000000002</c:v>
                </c:pt>
                <c:pt idx="3">
                  <c:v>3.4291999999999998</c:v>
                </c:pt>
                <c:pt idx="4">
                  <c:v>2.824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75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H$2:$H$8</c:f>
              <c:numCache>
                <c:formatCode>General</c:formatCode>
                <c:ptCount val="7"/>
                <c:pt idx="2">
                  <c:v>3.079400000000000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I$2:$I$8</c:f>
              <c:numCache>
                <c:formatCode>General</c:formatCode>
                <c:ptCount val="7"/>
                <c:pt idx="0">
                  <c:v>3.6204000000000001</c:v>
                </c:pt>
                <c:pt idx="1">
                  <c:v>1.8689</c:v>
                </c:pt>
                <c:pt idx="6">
                  <c:v>3.316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2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J$2:$J$8</c:f>
              <c:numCache>
                <c:formatCode>General</c:formatCode>
                <c:ptCount val="7"/>
                <c:pt idx="2">
                  <c:v>3.363799999999999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K$2:$K$8</c:f>
              <c:numCache>
                <c:formatCode>General</c:formatCode>
                <c:ptCount val="7"/>
                <c:pt idx="0">
                  <c:v>4.493699999999999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6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St Moret</c:v>
                </c:pt>
                <c:pt idx="1">
                  <c:v>Private Label</c:v>
                </c:pt>
                <c:pt idx="2">
                  <c:v>Paysan Breton</c:v>
                </c:pt>
                <c:pt idx="3">
                  <c:v>Boursin</c:v>
                </c:pt>
                <c:pt idx="4">
                  <c:v>Tartare</c:v>
                </c:pt>
                <c:pt idx="5">
                  <c:v>Carre Frais</c:v>
                </c:pt>
                <c:pt idx="6">
                  <c:v>Philadelphia</c:v>
                </c:pt>
              </c:strCache>
            </c:strRef>
          </c:cat>
          <c:val>
            <c:numRef>
              <c:f>Sheet1!$L$2:$L$8</c:f>
              <c:numCache>
                <c:formatCode>General</c:formatCode>
                <c:ptCount val="7"/>
                <c:pt idx="2">
                  <c:v>4.6205999999999996</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B$2:$B$8</c:f>
              <c:numCache>
                <c:formatCode>General</c:formatCode>
                <c:ptCount val="7"/>
                <c:pt idx="0">
                  <c:v>2.4811000000000001</c:v>
                </c:pt>
                <c:pt idx="2">
                  <c:v>2.374099999999999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C$2:$C$8</c:f>
              <c:numCache>
                <c:formatCode>General</c:formatCode>
                <c:ptCount val="7"/>
                <c:pt idx="0">
                  <c:v>2.1637</c:v>
                </c:pt>
                <c:pt idx="2">
                  <c:v>2.6114000000000002</c:v>
                </c:pt>
                <c:pt idx="6">
                  <c:v>2.252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D$2:$D$8</c:f>
              <c:numCache>
                <c:formatCode>General</c:formatCode>
                <c:ptCount val="7"/>
                <c:pt idx="0">
                  <c:v>1.3552999999999999</c:v>
                </c:pt>
                <c:pt idx="1">
                  <c:v>1.6195999999999999</c:v>
                </c:pt>
                <c:pt idx="2">
                  <c:v>2.6172</c:v>
                </c:pt>
                <c:pt idx="3">
                  <c:v>1.87349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E$2:$E$8</c:f>
              <c:numCache>
                <c:formatCode>General</c:formatCode>
                <c:ptCount val="7"/>
                <c:pt idx="0">
                  <c:v>2.1158000000000001</c:v>
                </c:pt>
                <c:pt idx="1">
                  <c:v>3.0081000000000002</c:v>
                </c:pt>
                <c:pt idx="3">
                  <c:v>2.6448</c:v>
                </c:pt>
                <c:pt idx="4">
                  <c:v>2.7412000000000001</c:v>
                </c:pt>
                <c:pt idx="5">
                  <c:v>2.73039999999999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F$2:$F$8</c:f>
              <c:numCache>
                <c:formatCode>General</c:formatCode>
                <c:ptCount val="7"/>
                <c:pt idx="0">
                  <c:v>2.9548999999999999</c:v>
                </c:pt>
                <c:pt idx="2">
                  <c:v>3.8279999999999998</c:v>
                </c:pt>
                <c:pt idx="3">
                  <c:v>4.5377000000000001</c:v>
                </c:pt>
                <c:pt idx="4">
                  <c:v>2.78679999999999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G$2:$G$8</c:f>
              <c:numCache>
                <c:formatCode>General</c:formatCode>
                <c:ptCount val="7"/>
                <c:pt idx="0">
                  <c:v>2.1955</c:v>
                </c:pt>
                <c:pt idx="1">
                  <c:v>2.6629999999999998</c:v>
                </c:pt>
                <c:pt idx="2">
                  <c:v>4.582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H$2:$H$8</c:f>
              <c:numCache>
                <c:formatCode>General</c:formatCode>
                <c:ptCount val="7"/>
                <c:pt idx="4">
                  <c:v>3.278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7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I$2:$I$8</c:f>
              <c:numCache>
                <c:formatCode>General</c:formatCode>
                <c:ptCount val="7"/>
                <c:pt idx="0">
                  <c:v>2.7784</c:v>
                </c:pt>
                <c:pt idx="1">
                  <c:v>3.60610000000000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All Others</c:v>
                </c:pt>
                <c:pt idx="3">
                  <c:v>Casa Azzurra</c:v>
                </c:pt>
                <c:pt idx="4">
                  <c:v>Salakis</c:v>
                </c:pt>
                <c:pt idx="5">
                  <c:v>Islos</c:v>
                </c:pt>
                <c:pt idx="6">
                  <c:v>Boursin</c:v>
                </c:pt>
              </c:strCache>
            </c:strRef>
          </c:cat>
          <c:val>
            <c:numRef>
              <c:f>Sheet1!$J$2:$J$8</c:f>
              <c:numCache>
                <c:formatCode>General</c:formatCode>
                <c:ptCount val="7"/>
                <c:pt idx="0">
                  <c:v>2.9847999999999999</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B$2:$B$8</c:f>
              <c:numCache>
                <c:formatCode>General</c:formatCode>
                <c:ptCount val="7"/>
                <c:pt idx="0">
                  <c:v>1.933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C$2:$C$8</c:f>
              <c:numCache>
                <c:formatCode>General</c:formatCode>
                <c:ptCount val="7"/>
                <c:pt idx="0">
                  <c:v>2.2292999999999998</c:v>
                </c:pt>
                <c:pt idx="1">
                  <c:v>2.5726</c:v>
                </c:pt>
                <c:pt idx="6">
                  <c:v>2.161700000000000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D$2:$D$8</c:f>
              <c:numCache>
                <c:formatCode>General</c:formatCode>
                <c:ptCount val="7"/>
                <c:pt idx="0">
                  <c:v>1.4641999999999999</c:v>
                </c:pt>
                <c:pt idx="1">
                  <c:v>2.5653999999999999</c:v>
                </c:pt>
                <c:pt idx="2">
                  <c:v>1.716</c:v>
                </c:pt>
                <c:pt idx="3">
                  <c:v>2.079200000000000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E$2:$E$8</c:f>
              <c:numCache>
                <c:formatCode>General</c:formatCode>
                <c:ptCount val="7"/>
                <c:pt idx="0">
                  <c:v>2.278</c:v>
                </c:pt>
                <c:pt idx="1">
                  <c:v>2.6852</c:v>
                </c:pt>
                <c:pt idx="2">
                  <c:v>2.7343000000000002</c:v>
                </c:pt>
                <c:pt idx="3">
                  <c:v>2.6842000000000001</c:v>
                </c:pt>
                <c:pt idx="4">
                  <c:v>2.8532999999999999</c:v>
                </c:pt>
                <c:pt idx="5">
                  <c:v>2.67370000000000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F$2:$F$8</c:f>
              <c:numCache>
                <c:formatCode>General</c:formatCode>
                <c:ptCount val="7"/>
                <c:pt idx="0">
                  <c:v>2.9940000000000002</c:v>
                </c:pt>
                <c:pt idx="1">
                  <c:v>3.9521999999999999</c:v>
                </c:pt>
                <c:pt idx="3">
                  <c:v>4.3448000000000002</c:v>
                </c:pt>
                <c:pt idx="4">
                  <c:v>2.8426999999999998</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G$2:$G$8</c:f>
              <c:numCache>
                <c:formatCode>General</c:formatCode>
                <c:ptCount val="7"/>
                <c:pt idx="0">
                  <c:v>2.2443</c:v>
                </c:pt>
                <c:pt idx="1">
                  <c:v>4.6402999999999999</c:v>
                </c:pt>
                <c:pt idx="2">
                  <c:v>2.80839999999999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H$2:$H$8</c:f>
              <c:numCache>
                <c:formatCode>General</c:formatCode>
                <c:ptCount val="7"/>
                <c:pt idx="3">
                  <c:v>5.0865</c:v>
                </c:pt>
                <c:pt idx="4">
                  <c:v>3.301099999999999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7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I$2:$I$8</c:f>
              <c:numCache>
                <c:formatCode>General</c:formatCode>
                <c:ptCount val="7"/>
                <c:pt idx="0">
                  <c:v>2.7262</c:v>
                </c:pt>
                <c:pt idx="2">
                  <c:v>3.854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All Others</c:v>
                </c:pt>
                <c:pt idx="2">
                  <c:v>Galbani</c:v>
                </c:pt>
                <c:pt idx="3">
                  <c:v>Casa Azzurra</c:v>
                </c:pt>
                <c:pt idx="4">
                  <c:v>Salakis</c:v>
                </c:pt>
                <c:pt idx="5">
                  <c:v>Islos</c:v>
                </c:pt>
                <c:pt idx="6">
                  <c:v>Boursin</c:v>
                </c:pt>
              </c:strCache>
            </c:strRef>
          </c:cat>
          <c:val>
            <c:numRef>
              <c:f>Sheet1!$J$2:$J$8</c:f>
              <c:numCache>
                <c:formatCode>General</c:formatCode>
                <c:ptCount val="7"/>
                <c:pt idx="0">
                  <c:v>3.0329999999999999</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Salakis</c:v>
                </c:pt>
                <c:pt idx="3">
                  <c:v>All Others</c:v>
                </c:pt>
                <c:pt idx="4">
                  <c:v>Casa Azzurra</c:v>
                </c:pt>
                <c:pt idx="5">
                  <c:v>Islos</c:v>
                </c:pt>
                <c:pt idx="6">
                  <c:v>Boursin</c:v>
                </c:pt>
              </c:strCache>
            </c:strRef>
          </c:cat>
          <c:val>
            <c:numRef>
              <c:f>Sheet1!$B$2:$B$8</c:f>
              <c:numCache>
                <c:formatCode>General</c:formatCode>
                <c:ptCount val="7"/>
                <c:pt idx="0">
                  <c:v>2.86350000000000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Salakis</c:v>
                </c:pt>
                <c:pt idx="3">
                  <c:v>All Others</c:v>
                </c:pt>
                <c:pt idx="4">
                  <c:v>Casa Azzurra</c:v>
                </c:pt>
                <c:pt idx="5">
                  <c:v>Islos</c:v>
                </c:pt>
                <c:pt idx="6">
                  <c:v>Boursin</c:v>
                </c:pt>
              </c:strCache>
            </c:strRef>
          </c:cat>
          <c:val>
            <c:numRef>
              <c:f>Sheet1!$C$2:$C$8</c:f>
              <c:numCache>
                <c:formatCode>General</c:formatCode>
                <c:ptCount val="7"/>
                <c:pt idx="0">
                  <c:v>1.8541000000000001</c:v>
                </c:pt>
                <c:pt idx="6">
                  <c:v>2.417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Salakis</c:v>
                </c:pt>
                <c:pt idx="3">
                  <c:v>All Others</c:v>
                </c:pt>
                <c:pt idx="4">
                  <c:v>Casa Azzurra</c:v>
                </c:pt>
                <c:pt idx="5">
                  <c:v>Islos</c:v>
                </c:pt>
                <c:pt idx="6">
                  <c:v>Boursin</c:v>
                </c:pt>
              </c:strCache>
            </c:strRef>
          </c:cat>
          <c:val>
            <c:numRef>
              <c:f>Sheet1!$D$2:$D$8</c:f>
              <c:numCache>
                <c:formatCode>General</c:formatCode>
                <c:ptCount val="7"/>
                <c:pt idx="0">
                  <c:v>1.3976999999999999</c:v>
                </c:pt>
                <c:pt idx="1">
                  <c:v>1.6447000000000001</c:v>
                </c:pt>
                <c:pt idx="3">
                  <c:v>2.7946</c:v>
                </c:pt>
                <c:pt idx="4">
                  <c:v>1.825099999999999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Salakis</c:v>
                </c:pt>
                <c:pt idx="3">
                  <c:v>All Others</c:v>
                </c:pt>
                <c:pt idx="4">
                  <c:v>Casa Azzurra</c:v>
                </c:pt>
                <c:pt idx="5">
                  <c:v>Islos</c:v>
                </c:pt>
                <c:pt idx="6">
                  <c:v>Boursin</c:v>
                </c:pt>
              </c:strCache>
            </c:strRef>
          </c:cat>
          <c:val>
            <c:numRef>
              <c:f>Sheet1!$E$2:$E$8</c:f>
              <c:numCache>
                <c:formatCode>General</c:formatCode>
                <c:ptCount val="7"/>
                <c:pt idx="0">
                  <c:v>2.1240000000000001</c:v>
                </c:pt>
                <c:pt idx="1">
                  <c:v>3.1242999999999999</c:v>
                </c:pt>
                <c:pt idx="2">
                  <c:v>2.8243999999999998</c:v>
                </c:pt>
                <c:pt idx="3">
                  <c:v>3.4567000000000001</c:v>
                </c:pt>
                <c:pt idx="5">
                  <c:v>2.912500000000000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Salakis</c:v>
                </c:pt>
                <c:pt idx="3">
                  <c:v>All Others</c:v>
                </c:pt>
                <c:pt idx="4">
                  <c:v>Casa Azzurra</c:v>
                </c:pt>
                <c:pt idx="5">
                  <c:v>Islos</c:v>
                </c:pt>
                <c:pt idx="6">
                  <c:v>Boursin</c:v>
                </c:pt>
              </c:strCache>
            </c:strRef>
          </c:cat>
          <c:val>
            <c:numRef>
              <c:f>Sheet1!$F$2:$F$8</c:f>
              <c:numCache>
                <c:formatCode>General</c:formatCode>
                <c:ptCount val="7"/>
                <c:pt idx="0">
                  <c:v>3.2107999999999999</c:v>
                </c:pt>
                <c:pt idx="2">
                  <c:v>2.737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Salakis</c:v>
                </c:pt>
                <c:pt idx="3">
                  <c:v>All Others</c:v>
                </c:pt>
                <c:pt idx="4">
                  <c:v>Casa Azzurra</c:v>
                </c:pt>
                <c:pt idx="5">
                  <c:v>Islos</c:v>
                </c:pt>
                <c:pt idx="6">
                  <c:v>Boursin</c:v>
                </c:pt>
              </c:strCache>
            </c:strRef>
          </c:cat>
          <c:val>
            <c:numRef>
              <c:f>Sheet1!$G$2:$G$8</c:f>
              <c:numCache>
                <c:formatCode>General</c:formatCode>
                <c:ptCount val="7"/>
                <c:pt idx="0">
                  <c:v>1.7622</c:v>
                </c:pt>
                <c:pt idx="1">
                  <c:v>2.746100000000000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Salakis</c:v>
                </c:pt>
                <c:pt idx="3">
                  <c:v>All Others</c:v>
                </c:pt>
                <c:pt idx="4">
                  <c:v>Casa Azzurra</c:v>
                </c:pt>
                <c:pt idx="5">
                  <c:v>Islos</c:v>
                </c:pt>
                <c:pt idx="6">
                  <c:v>Boursin</c:v>
                </c:pt>
              </c:strCache>
            </c:strRef>
          </c:cat>
          <c:val>
            <c:numRef>
              <c:f>Sheet1!$H$2:$H$8</c:f>
              <c:numCache>
                <c:formatCode>General</c:formatCode>
                <c:ptCount val="7"/>
                <c:pt idx="0">
                  <c:v>2.1448</c:v>
                </c:pt>
                <c:pt idx="2">
                  <c:v>3.310099999999999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7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Private Label</c:v>
                </c:pt>
                <c:pt idx="1">
                  <c:v>Galbani</c:v>
                </c:pt>
                <c:pt idx="2">
                  <c:v>Salakis</c:v>
                </c:pt>
                <c:pt idx="3">
                  <c:v>All Others</c:v>
                </c:pt>
                <c:pt idx="4">
                  <c:v>Casa Azzurra</c:v>
                </c:pt>
                <c:pt idx="5">
                  <c:v>Islos</c:v>
                </c:pt>
                <c:pt idx="6">
                  <c:v>Boursin</c:v>
                </c:pt>
              </c:strCache>
            </c:strRef>
          </c:cat>
          <c:val>
            <c:numRef>
              <c:f>Sheet1!$I$2:$I$8</c:f>
              <c:numCache>
                <c:formatCode>General</c:formatCode>
                <c:ptCount val="7"/>
                <c:pt idx="1">
                  <c:v>3.550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4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Private Label</c:v>
                </c:pt>
                <c:pt idx="1">
                  <c:v>Galbani</c:v>
                </c:pt>
                <c:pt idx="2">
                  <c:v>Salakis</c:v>
                </c:pt>
                <c:pt idx="3">
                  <c:v>All Others</c:v>
                </c:pt>
                <c:pt idx="4">
                  <c:v>Casa Azzurra</c:v>
                </c:pt>
                <c:pt idx="5">
                  <c:v>Islos</c:v>
                </c:pt>
                <c:pt idx="6">
                  <c:v>Boursin</c:v>
                </c:pt>
              </c:strCache>
            </c:strRef>
          </c:cat>
          <c:val>
            <c:numRef>
              <c:f>Sheet1!$J$2:$J$8</c:f>
              <c:numCache>
                <c:formatCode>General</c:formatCode>
                <c:ptCount val="7"/>
                <c:pt idx="0">
                  <c:v>2.9794</c:v>
                </c:pt>
              </c:numCache>
            </c:numRef>
          </c:val>
          <c:smooth val="0"/>
          <c:extLst>
            <c:ext xmlns:c16="http://schemas.microsoft.com/office/drawing/2014/chart" uri="{C3380CC4-5D6E-409C-BE32-E72D297353CC}">
              <c16:uniqueId val="{00000013-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0FD3EF0-E40B-4F98-A6F5-A38D64DC4B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6D4A65E-7F19-4683-9CEB-C2719DFA7C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7D43105-C4F3-446D-A99A-655D3C03DA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02DD033-6039-435D-8A15-E910B1B83E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B1881F8-C369-437F-A738-D67E8338D5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04A31DF-7150-4D92-9120-9E28A500E9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B8F497D-798B-4579-B800-D27234F341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DA4808E-7E0D-4156-9586-78792B61C0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0327000000000002</c:v>
                </c:pt>
                <c:pt idx="1">
                  <c:v>2.2883</c:v>
                </c:pt>
                <c:pt idx="2">
                  <c:v>2.3494999999999999</c:v>
                </c:pt>
                <c:pt idx="3">
                  <c:v>2.9119999999999999</c:v>
                </c:pt>
                <c:pt idx="4">
                  <c:v>2.7605</c:v>
                </c:pt>
                <c:pt idx="5">
                  <c:v>3.2795000000000001</c:v>
                </c:pt>
                <c:pt idx="6">
                  <c:v>2.4449999999999998</c:v>
                </c:pt>
                <c:pt idx="7">
                  <c:v>2.4899</c:v>
                </c:pt>
                <c:pt idx="8">
                  <c:v>3.5445000000000002</c:v>
                </c:pt>
              </c:numCache>
            </c:numRef>
          </c:xVal>
          <c:yVal>
            <c:numRef>
              <c:f>Sheet1!$B$2:$B$10</c:f>
              <c:numCache>
                <c:formatCode>General</c:formatCode>
                <c:ptCount val="9"/>
                <c:pt idx="0">
                  <c:v>0.85599999999999998</c:v>
                </c:pt>
                <c:pt idx="1">
                  <c:v>0.79900000000000004</c:v>
                </c:pt>
                <c:pt idx="2">
                  <c:v>1.1379999999999999</c:v>
                </c:pt>
                <c:pt idx="3">
                  <c:v>1.0940000000000001</c:v>
                </c:pt>
                <c:pt idx="4">
                  <c:v>1.0580000000000001</c:v>
                </c:pt>
                <c:pt idx="5">
                  <c:v>1.161</c:v>
                </c:pt>
                <c:pt idx="6">
                  <c:v>1.2949999999999999</c:v>
                </c:pt>
                <c:pt idx="7">
                  <c:v>0.71799999999999997</c:v>
                </c:pt>
                <c:pt idx="8">
                  <c:v>1.488</c:v>
                </c:pt>
              </c:numCache>
            </c:numRef>
          </c:yVal>
          <c:bubbleSize>
            <c:numRef>
              <c:f>Sheet1!$C$2:$C$10</c:f>
              <c:numCache>
                <c:formatCode>General</c:formatCode>
                <c:ptCount val="9"/>
                <c:pt idx="0">
                  <c:v>519196378</c:v>
                </c:pt>
                <c:pt idx="1">
                  <c:v>58759599</c:v>
                </c:pt>
                <c:pt idx="2">
                  <c:v>58401688</c:v>
                </c:pt>
                <c:pt idx="3">
                  <c:v>51751764</c:v>
                </c:pt>
                <c:pt idx="4">
                  <c:v>48675142</c:v>
                </c:pt>
                <c:pt idx="5">
                  <c:v>47071227</c:v>
                </c:pt>
                <c:pt idx="6">
                  <c:v>40044170</c:v>
                </c:pt>
                <c:pt idx="7">
                  <c:v>38256036</c:v>
                </c:pt>
                <c:pt idx="8">
                  <c:v>36162450</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Galbani</c:v>
                  </c:pt>
                  <c:pt idx="3">
                    <c:v>St Moret</c:v>
                  </c:pt>
                  <c:pt idx="4">
                    <c:v>Soignon</c:v>
                  </c:pt>
                  <c:pt idx="5">
                    <c:v>Caprice Des Dieux</c:v>
                  </c:pt>
                  <c:pt idx="6">
                    <c:v>Casa Azzurra</c:v>
                  </c:pt>
                  <c:pt idx="7">
                    <c:v>Coeur De Lion</c:v>
                  </c:pt>
                  <c:pt idx="8">
                    <c:v>Mini Baby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8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5A9834F-EEEF-41EC-931F-09A14877FF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363AE10-438A-4563-BB35-6C841107CF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64D387E-6D85-44EF-AC28-71D62E590F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7F1F22C-BAF7-4212-A05A-BA75E6950C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57F88EA-3423-49CC-AAFA-33E4FE500A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D1DD820-1D98-4CFA-8734-306AE04B39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86694AC-E20E-492E-8124-BD2FC4F233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BD6EBEF-538A-4613-BCED-65A60E5598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1953999999999998</c:v>
                </c:pt>
                <c:pt idx="1">
                  <c:v>2.4110999999999998</c:v>
                </c:pt>
                <c:pt idx="2">
                  <c:v>3.0028999999999999</c:v>
                </c:pt>
                <c:pt idx="3">
                  <c:v>2.3096999999999999</c:v>
                </c:pt>
                <c:pt idx="4">
                  <c:v>2.8786</c:v>
                </c:pt>
                <c:pt idx="5">
                  <c:v>3.3563000000000001</c:v>
                </c:pt>
                <c:pt idx="6">
                  <c:v>2.6053999999999999</c:v>
                </c:pt>
                <c:pt idx="7">
                  <c:v>2.4415</c:v>
                </c:pt>
                <c:pt idx="8">
                  <c:v>3.2258</c:v>
                </c:pt>
              </c:numCache>
            </c:numRef>
          </c:xVal>
          <c:yVal>
            <c:numRef>
              <c:f>Sheet1!$B$2:$B$10</c:f>
              <c:numCache>
                <c:formatCode>General</c:formatCode>
                <c:ptCount val="9"/>
                <c:pt idx="0">
                  <c:v>0.88300000000000001</c:v>
                </c:pt>
                <c:pt idx="1">
                  <c:v>0.76100000000000001</c:v>
                </c:pt>
                <c:pt idx="2">
                  <c:v>1.079</c:v>
                </c:pt>
                <c:pt idx="3">
                  <c:v>1.073</c:v>
                </c:pt>
                <c:pt idx="4">
                  <c:v>1.0229999999999999</c:v>
                </c:pt>
                <c:pt idx="5">
                  <c:v>1.1419999999999999</c:v>
                </c:pt>
                <c:pt idx="6">
                  <c:v>1.3149999999999999</c:v>
                </c:pt>
                <c:pt idx="7">
                  <c:v>0.66900000000000004</c:v>
                </c:pt>
                <c:pt idx="8">
                  <c:v>0.82099999999999995</c:v>
                </c:pt>
              </c:numCache>
            </c:numRef>
          </c:yVal>
          <c:bubbleSize>
            <c:numRef>
              <c:f>Sheet1!$C$2:$C$10</c:f>
              <c:numCache>
                <c:formatCode>General</c:formatCode>
                <c:ptCount val="9"/>
                <c:pt idx="0">
                  <c:v>77897599</c:v>
                </c:pt>
                <c:pt idx="1">
                  <c:v>9302551</c:v>
                </c:pt>
                <c:pt idx="2">
                  <c:v>8811592</c:v>
                </c:pt>
                <c:pt idx="3">
                  <c:v>8667367</c:v>
                </c:pt>
                <c:pt idx="4">
                  <c:v>8594536</c:v>
                </c:pt>
                <c:pt idx="5">
                  <c:v>8328333</c:v>
                </c:pt>
                <c:pt idx="6">
                  <c:v>7504143</c:v>
                </c:pt>
                <c:pt idx="7">
                  <c:v>6782881</c:v>
                </c:pt>
                <c:pt idx="8">
                  <c:v>6741136</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t Moret</c:v>
                  </c:pt>
                  <c:pt idx="3">
                    <c:v>Galbani</c:v>
                  </c:pt>
                  <c:pt idx="4">
                    <c:v>Soignon</c:v>
                  </c:pt>
                  <c:pt idx="5">
                    <c:v>Caprice Des Dieux</c:v>
                  </c:pt>
                  <c:pt idx="6">
                    <c:v>Casa Azzurra</c:v>
                  </c:pt>
                  <c:pt idx="7">
                    <c:v>Coeur De Lion</c:v>
                  </c:pt>
                  <c:pt idx="8">
                    <c:v>La Vache Qui Ri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CB9C1F9-918E-4A41-81B2-6850632640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D8E5040-C6C7-4F4B-BD48-5AEBDB0F8F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BEC21D1-D37B-48F7-9B28-943D158EE3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3794179-69D1-4D7A-940A-BB7B96646C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41BC1C2-A5C6-42D8-9076-FE67E7BAB6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6B78C6C-AEFD-4523-BE18-E213FAEBC1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096823C-22D7-4F39-9293-02CAF7B71C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0D108E1-E0FC-453A-B4BC-B7B051A025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0</c:f>
              <c:numCache>
                <c:formatCode>General</c:formatCode>
                <c:ptCount val="9"/>
                <c:pt idx="0">
                  <c:v>2.0131000000000001</c:v>
                </c:pt>
                <c:pt idx="1">
                  <c:v>2.4689000000000001</c:v>
                </c:pt>
                <c:pt idx="2">
                  <c:v>2.3700999999999999</c:v>
                </c:pt>
                <c:pt idx="3">
                  <c:v>2.9885999999999999</c:v>
                </c:pt>
                <c:pt idx="4">
                  <c:v>2.7917999999999998</c:v>
                </c:pt>
                <c:pt idx="5">
                  <c:v>3.3898000000000001</c:v>
                </c:pt>
                <c:pt idx="6">
                  <c:v>2.5394000000000001</c:v>
                </c:pt>
                <c:pt idx="7">
                  <c:v>3.4443000000000001</c:v>
                </c:pt>
                <c:pt idx="8">
                  <c:v>2.9990000000000001</c:v>
                </c:pt>
              </c:numCache>
            </c:numRef>
          </c:xVal>
          <c:yVal>
            <c:numRef>
              <c:f>Sheet1!$B$2:$B$10</c:f>
              <c:numCache>
                <c:formatCode>General</c:formatCode>
                <c:ptCount val="9"/>
                <c:pt idx="0">
                  <c:v>0.84699999999999998</c:v>
                </c:pt>
                <c:pt idx="1">
                  <c:v>1.169</c:v>
                </c:pt>
                <c:pt idx="2">
                  <c:v>0.81699999999999995</c:v>
                </c:pt>
                <c:pt idx="3">
                  <c:v>1.0940000000000001</c:v>
                </c:pt>
                <c:pt idx="4">
                  <c:v>1.0469999999999999</c:v>
                </c:pt>
                <c:pt idx="5">
                  <c:v>1.1910000000000001</c:v>
                </c:pt>
                <c:pt idx="6">
                  <c:v>0.749</c:v>
                </c:pt>
                <c:pt idx="7">
                  <c:v>0.97399999999999998</c:v>
                </c:pt>
                <c:pt idx="8">
                  <c:v>1.133</c:v>
                </c:pt>
              </c:numCache>
            </c:numRef>
          </c:yVal>
          <c:bubbleSize>
            <c:numRef>
              <c:f>Sheet1!$C$2:$C$10</c:f>
              <c:numCache>
                <c:formatCode>General</c:formatCode>
                <c:ptCount val="9"/>
                <c:pt idx="0">
                  <c:v>58897416</c:v>
                </c:pt>
                <c:pt idx="1">
                  <c:v>11602323</c:v>
                </c:pt>
                <c:pt idx="2">
                  <c:v>9875140</c:v>
                </c:pt>
                <c:pt idx="3">
                  <c:v>8620814</c:v>
                </c:pt>
                <c:pt idx="4">
                  <c:v>8261704</c:v>
                </c:pt>
                <c:pt idx="5">
                  <c:v>7436715</c:v>
                </c:pt>
                <c:pt idx="6">
                  <c:v>6495624</c:v>
                </c:pt>
                <c:pt idx="7">
                  <c:v>5658598</c:v>
                </c:pt>
                <c:pt idx="8">
                  <c:v>5268160</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President</c:v>
                  </c:pt>
                  <c:pt idx="3">
                    <c:v>St Moret</c:v>
                  </c:pt>
                  <c:pt idx="4">
                    <c:v>Soignon</c:v>
                  </c:pt>
                  <c:pt idx="5">
                    <c:v>Caprice Des Dieux</c:v>
                  </c:pt>
                  <c:pt idx="6">
                    <c:v>Coeur De Lion</c:v>
                  </c:pt>
                  <c:pt idx="7">
                    <c:v>La Vache Qui Rit</c:v>
                  </c:pt>
                  <c:pt idx="8">
                    <c:v>Salak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9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6577139-F5C3-472D-8861-1AB8FE5B74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DD2A882-214D-44A9-B25A-9E379DBBDA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990096A-17AA-4283-9B03-49B37492FD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5459235-C02D-4B65-B5AD-A1E5FC6CA3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224ABE5-DB46-4120-BBBB-CFB557206F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52B286D-C25F-46BD-B929-E24032840C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0C647DA-DBCC-48E4-A1DF-DEC74DFCBE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EF0F33C-B8C3-43B5-A825-814C8AE4C0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3.7187000000000001</c:v>
                </c:pt>
                <c:pt idx="1">
                  <c:v>2.0144000000000002</c:v>
                </c:pt>
                <c:pt idx="2">
                  <c:v>3.5047999999999999</c:v>
                </c:pt>
                <c:pt idx="3">
                  <c:v>2.8439999999999999</c:v>
                </c:pt>
                <c:pt idx="4">
                  <c:v>2.6423000000000001</c:v>
                </c:pt>
              </c:numCache>
            </c:numRef>
          </c:xVal>
          <c:yVal>
            <c:numRef>
              <c:f>Sheet1!$B$2:$B$6</c:f>
              <c:numCache>
                <c:formatCode>General</c:formatCode>
                <c:ptCount val="5"/>
                <c:pt idx="0">
                  <c:v>0.872</c:v>
                </c:pt>
                <c:pt idx="1">
                  <c:v>1.014</c:v>
                </c:pt>
                <c:pt idx="2">
                  <c:v>1.7649999999999999</c:v>
                </c:pt>
                <c:pt idx="3">
                  <c:v>1.306</c:v>
                </c:pt>
                <c:pt idx="4">
                  <c:v>1.331</c:v>
                </c:pt>
              </c:numCache>
            </c:numRef>
          </c:yVal>
          <c:bubbleSize>
            <c:numRef>
              <c:f>Sheet1!$C$2:$C$6</c:f>
              <c:numCache>
                <c:formatCode>General</c:formatCode>
                <c:ptCount val="5"/>
                <c:pt idx="0">
                  <c:v>32111482</c:v>
                </c:pt>
                <c:pt idx="1">
                  <c:v>8926552</c:v>
                </c:pt>
                <c:pt idx="2">
                  <c:v>4826639</c:v>
                </c:pt>
                <c:pt idx="3">
                  <c:v>3695927</c:v>
                </c:pt>
                <c:pt idx="4">
                  <c:v>2844424</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6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A1554C5-7825-43A6-99F7-938E071199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6AFEE0D-4379-4911-B2CF-271500F178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46647B3-7012-4CAA-906F-5305B91066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160C6EC-3800-423A-A01A-C04549440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4FF919F-BCF0-4F4C-962F-7B00487F78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8F66427-F8DF-4626-847B-027E8F0EEF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9E43548-AB43-450E-ACC2-89B462496A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C1D39DE-D3B4-4D43-9D93-34AAD6D8DB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3.8580999999999999</c:v>
                </c:pt>
                <c:pt idx="1">
                  <c:v>2.1343000000000001</c:v>
                </c:pt>
                <c:pt idx="2">
                  <c:v>3.4523000000000001</c:v>
                </c:pt>
                <c:pt idx="3">
                  <c:v>3.1278999999999999</c:v>
                </c:pt>
                <c:pt idx="4">
                  <c:v>2.6861999999999999</c:v>
                </c:pt>
                <c:pt idx="5">
                  <c:v>5.2592999999999996</c:v>
                </c:pt>
                <c:pt idx="6">
                  <c:v>1.8669</c:v>
                </c:pt>
              </c:numCache>
            </c:numRef>
          </c:xVal>
          <c:yVal>
            <c:numRef>
              <c:f>Sheet1!$B$2:$B$8</c:f>
              <c:numCache>
                <c:formatCode>General</c:formatCode>
                <c:ptCount val="7"/>
                <c:pt idx="0">
                  <c:v>0.871</c:v>
                </c:pt>
                <c:pt idx="1">
                  <c:v>1.0189999999999999</c:v>
                </c:pt>
                <c:pt idx="2">
                  <c:v>1.6479999999999999</c:v>
                </c:pt>
                <c:pt idx="3">
                  <c:v>1.492</c:v>
                </c:pt>
                <c:pt idx="4">
                  <c:v>1.2849999999999999</c:v>
                </c:pt>
                <c:pt idx="5">
                  <c:v>1.585</c:v>
                </c:pt>
                <c:pt idx="6">
                  <c:v>1.9950000000000001</c:v>
                </c:pt>
              </c:numCache>
            </c:numRef>
          </c:yVal>
          <c:bubbleSize>
            <c:numRef>
              <c:f>Sheet1!$C$2:$C$8</c:f>
              <c:numCache>
                <c:formatCode>General</c:formatCode>
                <c:ptCount val="7"/>
                <c:pt idx="0">
                  <c:v>6113168</c:v>
                </c:pt>
                <c:pt idx="1">
                  <c:v>1692864</c:v>
                </c:pt>
                <c:pt idx="2">
                  <c:v>1030688</c:v>
                </c:pt>
                <c:pt idx="3">
                  <c:v>505315</c:v>
                </c:pt>
                <c:pt idx="4">
                  <c:v>349471</c:v>
                </c:pt>
                <c:pt idx="5">
                  <c:v>128289</c:v>
                </c:pt>
                <c:pt idx="6">
                  <c:v>121788</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pt idx="5">
                    <c:v>O'Tapas Apero</c:v>
                  </c:pt>
                  <c:pt idx="6">
                    <c:v>Leerdamm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95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BF1E7B0-32C0-44E4-85D0-5A3497298F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A635830-A005-4A87-AC9A-812722631C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9715081-5D70-41F4-9335-89A7CE281E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A6AD76A-B361-4AC4-AFE1-DC4A7EEEB3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BCB421-3EA8-46D0-ADA0-A634048F6E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EA814F4-E722-4AFC-95AE-49F5BA2FBB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33D6749-3324-44D8-857A-01CE88B0B0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3DE9FE4-8455-4AAC-BD04-04E4E45FE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3.9350000000000001</c:v>
                </c:pt>
                <c:pt idx="1">
                  <c:v>2.1753</c:v>
                </c:pt>
                <c:pt idx="2">
                  <c:v>3.5583</c:v>
                </c:pt>
                <c:pt idx="3">
                  <c:v>2.6888000000000001</c:v>
                </c:pt>
                <c:pt idx="4">
                  <c:v>2.6114000000000002</c:v>
                </c:pt>
              </c:numCache>
            </c:numRef>
          </c:xVal>
          <c:yVal>
            <c:numRef>
              <c:f>Sheet1!$B$2:$B$6</c:f>
              <c:numCache>
                <c:formatCode>General</c:formatCode>
                <c:ptCount val="5"/>
                <c:pt idx="0">
                  <c:v>0.88</c:v>
                </c:pt>
                <c:pt idx="1">
                  <c:v>1.0760000000000001</c:v>
                </c:pt>
                <c:pt idx="2">
                  <c:v>1.7609999999999999</c:v>
                </c:pt>
                <c:pt idx="3">
                  <c:v>1.331</c:v>
                </c:pt>
                <c:pt idx="4">
                  <c:v>0.97599999999999998</c:v>
                </c:pt>
              </c:numCache>
            </c:numRef>
          </c:yVal>
          <c:bubbleSize>
            <c:numRef>
              <c:f>Sheet1!$C$2:$C$6</c:f>
              <c:numCache>
                <c:formatCode>General</c:formatCode>
                <c:ptCount val="5"/>
                <c:pt idx="0">
                  <c:v>5772129</c:v>
                </c:pt>
                <c:pt idx="1">
                  <c:v>1439845</c:v>
                </c:pt>
                <c:pt idx="2">
                  <c:v>1178065</c:v>
                </c:pt>
                <c:pt idx="3">
                  <c:v>808897</c:v>
                </c:pt>
                <c:pt idx="4">
                  <c:v>736159</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St Moret</c:v>
                  </c:pt>
                  <c:pt idx="4">
                    <c:v>Private La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6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14/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4/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0.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13.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14.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5.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1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17.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18.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19.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20.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21.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2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23.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24.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25.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26.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2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28.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29.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30.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31.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3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33.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34.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35.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36.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chart" Target="../charts/chart9.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176744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5373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76549"/>
            <a:ext cx="4869366" cy="72068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15718"/>
            <a:ext cx="4869366" cy="145985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345249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2581622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9023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09461"/>
            <a:ext cx="4869366" cy="8787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03131"/>
            <a:ext cx="4869366" cy="58088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8910"/>
            <a:ext cx="4869366" cy="117666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025999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312908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7848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97773"/>
            <a:ext cx="4869366" cy="8826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95360"/>
            <a:ext cx="4869366" cy="58343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3752"/>
            <a:ext cx="4869366" cy="118182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368862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31141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1264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32298"/>
            <a:ext cx="4869366" cy="90420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51832"/>
            <a:ext cx="4869366" cy="5976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64855"/>
            <a:ext cx="4869366" cy="121072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605295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127625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1479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38759"/>
            <a:ext cx="4869366" cy="76584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24243"/>
            <a:ext cx="4869366" cy="155133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230485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4697239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7927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02701"/>
            <a:ext cx="4869366" cy="74489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66693"/>
            <a:ext cx="4869366" cy="150888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943804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618966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4498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69531"/>
            <a:ext cx="4869366" cy="78853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78285"/>
            <a:ext cx="4869366" cy="159729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833874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2697462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6700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89701"/>
            <a:ext cx="4869366" cy="7163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42383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3416071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078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5535"/>
            <a:ext cx="4869366" cy="79639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866034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438701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46634"/>
            <a:ext cx="4869366" cy="99836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61922"/>
            <a:ext cx="4869366" cy="65993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05155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NATIONAL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9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977254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057902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9775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22702"/>
            <a:ext cx="4869366" cy="80388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47197"/>
            <a:ext cx="4869366" cy="162837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171906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Carrefour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O'Tapas Ape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016574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Intermarch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9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771216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NATIONAL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3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1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1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324035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Carrefour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3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1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1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2021332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Intermarch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3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1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560198"/>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81928">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181928">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181928">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181928">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181928">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181928">
                <a:tc>
                  <a:txBody>
                    <a:bodyPr/>
                    <a:lstStyle/>
                    <a:p>
                      <a:pPr algn="ctr">
                        <a:defRPr sz="800">
                          <a:latin typeface="Nexa Bold"/>
                        </a:defRPr>
                      </a:pPr>
                      <a:r>
                        <a:rPr sz="800">
                          <a:latin typeface="Nexa Bold"/>
                        </a:rP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1310178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NATION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659984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Carrefour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492968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Intermarche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40265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906341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781554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84205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0712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29491"/>
            <a:ext cx="4869366" cy="70333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50864"/>
            <a:ext cx="4869366" cy="142471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242421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236918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305755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882731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13546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255370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9356585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1660671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7136589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2329866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516351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9337260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8789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10421"/>
            <a:ext cx="4869366" cy="70958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38204"/>
            <a:ext cx="4869366" cy="143737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4390566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0526641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1324925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56040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77942436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385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63178"/>
            <a:ext cx="4869366" cy="79061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74068"/>
            <a:ext cx="4869366" cy="160150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006139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437654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48127"/>
            <a:ext cx="4869366" cy="86109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531303"/>
            <a:ext cx="4869366" cy="174427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93789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010152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77851"/>
            <a:ext cx="4869366" cy="92215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15636"/>
            <a:ext cx="4869366" cy="60956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861078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8503551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5268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71007"/>
            <a:ext cx="4869366" cy="82552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10527"/>
            <a:ext cx="4869366" cy="54568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734996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6258222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72144"/>
            <a:ext cx="4869366" cy="9240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11842"/>
            <a:ext cx="4869366" cy="6108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594589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0</TotalTime>
  <Words>3713</Words>
  <Application>Microsoft Office PowerPoint</Application>
  <PresentationFormat>On-screen Show (16:9)</PresentationFormat>
  <Paragraphs>972</Paragraphs>
  <Slides>42</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2"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6</cp:revision>
  <dcterms:created xsi:type="dcterms:W3CDTF">2024-07-05T14:56:51Z</dcterms:created>
  <dcterms:modified xsi:type="dcterms:W3CDTF">2025-09-14T09:38: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